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750" r:id="rId2"/>
    <p:sldId id="2609" r:id="rId3"/>
    <p:sldId id="2713" r:id="rId4"/>
    <p:sldId id="2714" r:id="rId5"/>
    <p:sldId id="2751" r:id="rId6"/>
    <p:sldId id="2710" r:id="rId7"/>
    <p:sldId id="2702" r:id="rId8"/>
    <p:sldId id="2729" r:id="rId9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0200"/>
    <a:srgbClr val="A7FE02"/>
    <a:srgbClr val="D9D9D9"/>
    <a:srgbClr val="FBE5D6"/>
    <a:srgbClr val="DAE3F3"/>
    <a:srgbClr val="0070C0"/>
    <a:srgbClr val="404040"/>
    <a:srgbClr val="ED7D31"/>
    <a:srgbClr val="7F7F7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27" autoAdjust="0"/>
    <p:restoredTop sz="96391" autoAdjust="0"/>
  </p:normalViewPr>
  <p:slideViewPr>
    <p:cSldViewPr>
      <p:cViewPr varScale="1">
        <p:scale>
          <a:sx n="111" d="100"/>
          <a:sy n="111" d="100"/>
        </p:scale>
        <p:origin x="882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>
      <p:cViewPr varScale="1">
        <p:scale>
          <a:sx n="87" d="100"/>
          <a:sy n="87" d="100"/>
        </p:scale>
        <p:origin x="384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7A2ECB-DA5F-437A-B9F3-C9D77C53C888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474109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91872D-C6EC-BE48-A641-E1383603EFD4}" type="datetimeFigureOut">
              <a:rPr kumimoji="1" lang="ko-KR" altLang="en-US" smtClean="0"/>
              <a:t>2024-07-09</a:t>
            </a:fld>
            <a:endParaRPr kumimoji="1"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C5DC92-6F7C-5F4F-87A8-B0B69CB8A4DB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7499237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7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3119387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C5DC92-6F7C-5F4F-87A8-B0B69CB8A4DB}" type="slidenum">
              <a:rPr kumimoji="1" lang="ko-KR" altLang="en-US" smtClean="0"/>
              <a:t>8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628849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 userDrawn="1">
  <p:cSld name="시작페이지">
    <p:bg>
      <p:bgPr>
        <a:solidFill>
          <a:schemeClr val="bg1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ities: Skylines II - Paradox Interactiv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 userDrawn="1"/>
        </p:nvSpPr>
        <p:spPr>
          <a:xfrm>
            <a:off x="0" y="4889038"/>
            <a:ext cx="12192000" cy="1968962"/>
          </a:xfrm>
          <a:prstGeom prst="roundRect">
            <a:avLst>
              <a:gd name="adj" fmla="val 0"/>
            </a:avLst>
          </a:prstGeom>
          <a:solidFill>
            <a:schemeClr val="bg1">
              <a:lumMod val="50000"/>
              <a:alpha val="70000"/>
            </a:schemeClr>
          </a:solidFill>
          <a:ln w="6350" cap="flat" cmpd="sng" algn="ctr">
            <a:noFill/>
            <a:prstDash val="sysDash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3B0DDE42-A893-C03C-A076-D8AD448A7ADB}"/>
              </a:ext>
            </a:extLst>
          </p:cNvPr>
          <p:cNvGrpSpPr/>
          <p:nvPr userDrawn="1"/>
        </p:nvGrpSpPr>
        <p:grpSpPr>
          <a:xfrm>
            <a:off x="119336" y="5061006"/>
            <a:ext cx="9577064" cy="1625026"/>
            <a:chOff x="479376" y="5373216"/>
            <a:chExt cx="6264696" cy="1625026"/>
          </a:xfrm>
        </p:grpSpPr>
        <p:sp>
          <p:nvSpPr>
            <p:cNvPr id="14" name="Google Shape;1411;p152">
              <a:extLst>
                <a:ext uri="{FF2B5EF4-FFF2-40B4-BE49-F238E27FC236}">
                  <a16:creationId xmlns:a16="http://schemas.microsoft.com/office/drawing/2014/main" id="{A465F122-586E-C0E5-6878-56D460C80E7F}"/>
                </a:ext>
              </a:extLst>
            </p:cNvPr>
            <p:cNvSpPr txBox="1"/>
            <p:nvPr userDrawn="1"/>
          </p:nvSpPr>
          <p:spPr>
            <a:xfrm>
              <a:off x="479376" y="6165304"/>
              <a:ext cx="6264696" cy="83293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>
                <a:lnSpc>
                  <a:spcPct val="115000"/>
                </a:lnSpc>
              </a:pPr>
              <a:r>
                <a:rPr lang="en-US" altLang="ko-KR" sz="4000" b="1" kern="1200" spc="-150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[DAPT] </a:t>
              </a:r>
              <a:r>
                <a:rPr lang="ko-KR" altLang="en-US" sz="4000" b="1" kern="1200" spc="-150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공간 빅데이터를 활용한 도시 양극화 분석</a:t>
              </a:r>
            </a:p>
          </p:txBody>
        </p:sp>
        <p:sp>
          <p:nvSpPr>
            <p:cNvPr id="15" name="Google Shape;1412;p152">
              <a:extLst>
                <a:ext uri="{FF2B5EF4-FFF2-40B4-BE49-F238E27FC236}">
                  <a16:creationId xmlns:a16="http://schemas.microsoft.com/office/drawing/2014/main" id="{EC235572-EA03-263E-E385-5D358C2A8BD3}"/>
                </a:ext>
              </a:extLst>
            </p:cNvPr>
            <p:cNvSpPr txBox="1"/>
            <p:nvPr userDrawn="1"/>
          </p:nvSpPr>
          <p:spPr>
            <a:xfrm>
              <a:off x="479376" y="5373216"/>
              <a:ext cx="5688632" cy="59304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r>
                <a:rPr 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June. 28 / 2024 </a:t>
              </a:r>
            </a:p>
            <a:p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제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3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차 </a:t>
              </a:r>
              <a:r>
                <a:rPr lang="ko-KR" altLang="en-US" sz="1800" b="1" u="none" kern="1200" dirty="0" err="1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미니프로젝트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 발표 </a:t>
              </a:r>
              <a:r>
                <a:rPr 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@ 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연세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IT</a:t>
              </a:r>
              <a:r>
                <a:rPr lang="ko-KR" altLang="en-US" sz="1800" b="1" u="none" kern="1200" dirty="0" err="1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미래교육원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 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(702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호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)</a:t>
              </a:r>
              <a:endParaRPr sz="1800" b="1" u="none" kern="1200" dirty="0">
                <a:solidFill>
                  <a:schemeClr val="bg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endParaRPr>
            </a:p>
          </p:txBody>
        </p:sp>
      </p:grpSp>
      <p:sp>
        <p:nvSpPr>
          <p:cNvPr id="16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 userDrawn="1"/>
        </p:nvSpPr>
        <p:spPr>
          <a:xfrm>
            <a:off x="0" y="0"/>
            <a:ext cx="12192000" cy="4889038"/>
          </a:xfrm>
          <a:prstGeom prst="roundRect">
            <a:avLst>
              <a:gd name="adj" fmla="val 0"/>
            </a:avLst>
          </a:prstGeom>
          <a:solidFill>
            <a:schemeClr val="bg1">
              <a:alpha val="50000"/>
            </a:schemeClr>
          </a:solidFill>
          <a:ln w="6350" cap="flat" cmpd="sng" algn="ctr">
            <a:noFill/>
            <a:prstDash val="sysDash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8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 userDrawn="1"/>
        </p:nvSpPr>
        <p:spPr>
          <a:xfrm>
            <a:off x="-168696" y="1453567"/>
            <a:ext cx="12192000" cy="1968962"/>
          </a:xfrm>
          <a:prstGeom prst="roundRect">
            <a:avLst>
              <a:gd name="adj" fmla="val 0"/>
            </a:avLst>
          </a:prstGeom>
          <a:solidFill>
            <a:schemeClr val="bg1">
              <a:lumMod val="50000"/>
              <a:alpha val="70000"/>
            </a:schemeClr>
          </a:solidFill>
          <a:ln w="6350" cap="flat" cmpd="sng" algn="ctr">
            <a:noFill/>
            <a:prstDash val="sysDash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3B0DDE42-A893-C03C-A076-D8AD448A7ADB}"/>
              </a:ext>
            </a:extLst>
          </p:cNvPr>
          <p:cNvGrpSpPr/>
          <p:nvPr userDrawn="1"/>
        </p:nvGrpSpPr>
        <p:grpSpPr>
          <a:xfrm>
            <a:off x="-49360" y="1625535"/>
            <a:ext cx="9577064" cy="1625026"/>
            <a:chOff x="479376" y="5373216"/>
            <a:chExt cx="6264696" cy="1625026"/>
          </a:xfrm>
        </p:grpSpPr>
        <p:sp>
          <p:nvSpPr>
            <p:cNvPr id="11" name="Google Shape;1411;p152">
              <a:extLst>
                <a:ext uri="{FF2B5EF4-FFF2-40B4-BE49-F238E27FC236}">
                  <a16:creationId xmlns:a16="http://schemas.microsoft.com/office/drawing/2014/main" id="{A465F122-586E-C0E5-6878-56D460C80E7F}"/>
                </a:ext>
              </a:extLst>
            </p:cNvPr>
            <p:cNvSpPr txBox="1"/>
            <p:nvPr userDrawn="1"/>
          </p:nvSpPr>
          <p:spPr>
            <a:xfrm>
              <a:off x="479376" y="6165304"/>
              <a:ext cx="6264696" cy="83293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>
                <a:lnSpc>
                  <a:spcPct val="115000"/>
                </a:lnSpc>
              </a:pPr>
              <a:r>
                <a:rPr lang="en-US" altLang="ko-KR" sz="4000" b="1" kern="1200" spc="-150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[DAPT] </a:t>
              </a:r>
              <a:r>
                <a:rPr lang="ko-KR" altLang="en-US" sz="4000" b="1" kern="1200" spc="-150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공간 빅데이터를 활용한 도시 양극화 분석</a:t>
              </a:r>
            </a:p>
          </p:txBody>
        </p:sp>
        <p:sp>
          <p:nvSpPr>
            <p:cNvPr id="17" name="Google Shape;1412;p152">
              <a:extLst>
                <a:ext uri="{FF2B5EF4-FFF2-40B4-BE49-F238E27FC236}">
                  <a16:creationId xmlns:a16="http://schemas.microsoft.com/office/drawing/2014/main" id="{EC235572-EA03-263E-E385-5D358C2A8BD3}"/>
                </a:ext>
              </a:extLst>
            </p:cNvPr>
            <p:cNvSpPr txBox="1"/>
            <p:nvPr userDrawn="1"/>
          </p:nvSpPr>
          <p:spPr>
            <a:xfrm>
              <a:off x="479376" y="5373216"/>
              <a:ext cx="5688632" cy="59304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r>
                <a:rPr 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June. 28 / 2024 </a:t>
              </a:r>
            </a:p>
            <a:p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제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3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차 </a:t>
              </a:r>
              <a:r>
                <a:rPr lang="ko-KR" altLang="en-US" sz="1800" b="1" u="none" kern="1200" dirty="0" err="1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미니프로젝트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 발표 </a:t>
              </a:r>
              <a:r>
                <a:rPr 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@ 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연세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IT</a:t>
              </a:r>
              <a:r>
                <a:rPr lang="ko-KR" altLang="en-US" sz="1800" b="1" u="none" kern="1200" dirty="0" err="1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미래교육원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 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(702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호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)</a:t>
              </a:r>
              <a:endParaRPr sz="1800" b="1" u="none" kern="1200" dirty="0">
                <a:solidFill>
                  <a:schemeClr val="bg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793023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/>
          <p:cNvSpPr/>
          <p:nvPr userDrawn="1"/>
        </p:nvSpPr>
        <p:spPr>
          <a:xfrm>
            <a:off x="1043798" y="496194"/>
            <a:ext cx="354501" cy="48453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1800" b="0" dirty="0"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" name="직사각형 6"/>
          <p:cNvSpPr/>
          <p:nvPr userDrawn="1"/>
        </p:nvSpPr>
        <p:spPr>
          <a:xfrm>
            <a:off x="0" y="0"/>
            <a:ext cx="1054321" cy="980728"/>
          </a:xfrm>
          <a:prstGeom prst="rect">
            <a:avLst/>
          </a:prstGeom>
          <a:solidFill>
            <a:srgbClr val="F6F4F3"/>
          </a:solidFill>
          <a:ln w="635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30000"/>
              </a:lnSpc>
            </a:pPr>
            <a:endParaRPr lang="ko-KR" altLang="en-US" sz="1600" dirty="0">
              <a:solidFill>
                <a:srgbClr val="70C1D2"/>
              </a:solidFill>
              <a:latin typeface="SF Pro Bold" pitchFamily="2" charset="0"/>
              <a:ea typeface="맑은 고딕" panose="020B0503020000020004" pitchFamily="50" charset="-127"/>
              <a:cs typeface="SF Pro Bold" pitchFamily="2" charset="0"/>
            </a:endParaRPr>
          </a:p>
        </p:txBody>
      </p:sp>
      <p:sp>
        <p:nvSpPr>
          <p:cNvPr id="8" name="직사각형 7"/>
          <p:cNvSpPr/>
          <p:nvPr userDrawn="1"/>
        </p:nvSpPr>
        <p:spPr>
          <a:xfrm>
            <a:off x="1398863" y="0"/>
            <a:ext cx="10793137" cy="980728"/>
          </a:xfrm>
          <a:prstGeom prst="rect">
            <a:avLst/>
          </a:prstGeom>
          <a:solidFill>
            <a:srgbClr val="F6F4F3"/>
          </a:solidFill>
          <a:ln w="635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30000"/>
              </a:lnSpc>
            </a:pPr>
            <a:endParaRPr lang="ko-KR" altLang="en-US" sz="1600" dirty="0">
              <a:solidFill>
                <a:srgbClr val="70C1D2"/>
              </a:solidFill>
              <a:latin typeface="SF Pro Bold" pitchFamily="2" charset="0"/>
              <a:ea typeface="맑은 고딕" panose="020B0503020000020004" pitchFamily="50" charset="-127"/>
              <a:cs typeface="SF Pro Bold" pitchFamily="2" charset="0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576113" y="411928"/>
            <a:ext cx="10457777" cy="56880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rgbClr val="40404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07B0C68C-855F-4843-B70E-40CD106B2703}"/>
              </a:ext>
            </a:extLst>
          </p:cNvPr>
          <p:cNvSpPr/>
          <p:nvPr userDrawn="1"/>
        </p:nvSpPr>
        <p:spPr>
          <a:xfrm>
            <a:off x="1043798" y="1"/>
            <a:ext cx="354501" cy="4992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1600" b="0" dirty="0"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1630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종료">
    <p:bg>
      <p:bgPr>
        <a:solidFill>
          <a:srgbClr val="F6F4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바닥글 개체 틀 4">
            <a:extLst>
              <a:ext uri="{FF2B5EF4-FFF2-40B4-BE49-F238E27FC236}">
                <a16:creationId xmlns:a16="http://schemas.microsoft.com/office/drawing/2014/main" id="{B29814B9-8E44-658A-07F8-135F3F182CB3}"/>
              </a:ext>
            </a:extLst>
          </p:cNvPr>
          <p:cNvSpPr txBox="1">
            <a:spLocks/>
          </p:cNvSpPr>
          <p:nvPr userDrawn="1"/>
        </p:nvSpPr>
        <p:spPr>
          <a:xfrm>
            <a:off x="11692324" y="6626309"/>
            <a:ext cx="499681" cy="220325"/>
          </a:xfrm>
          <a:prstGeom prst="rect">
            <a:avLst/>
          </a:prstGeom>
          <a:noFill/>
        </p:spPr>
        <p:txBody>
          <a:bodyPr vert="horz" wrap="square" lIns="81034" tIns="40517" rIns="81034" bIns="40517" rtlCol="0" anchor="ctr">
            <a:spAutoFit/>
          </a:bodyPr>
          <a:lstStyle>
            <a:defPPr>
              <a:defRPr lang="ko-KR"/>
            </a:defPPr>
            <a:lvl1pPr marL="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5386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0773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2616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1545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931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52318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27704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3090" algn="l" defTabSz="950773" rtl="0" eaLnBrk="1" latinLnBrk="1" hangingPunct="1">
              <a:defRPr sz="18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 defTabSz="810362">
              <a:defRPr/>
            </a:pPr>
            <a:fld id="{A0A4EEF0-9D29-4E84-B31C-7ED1F00F783C}" type="slidenum">
              <a:rPr lang="ko-KR" altLang="en-US" sz="900" b="0" smtClean="0">
                <a:solidFill>
                  <a:srgbClr val="40404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pPr lvl="0" algn="r" defTabSz="810362">
                <a:defRPr/>
              </a:pPr>
              <a:t>‹#›</a:t>
            </a:fld>
            <a:endParaRPr lang="ko-KR" altLang="en-US" sz="900" b="0" dirty="0">
              <a:solidFill>
                <a:srgbClr val="40404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8" name="Google Shape;16;p33">
            <a:extLst>
              <a:ext uri="{FF2B5EF4-FFF2-40B4-BE49-F238E27FC236}">
                <a16:creationId xmlns:a16="http://schemas.microsoft.com/office/drawing/2014/main" id="{A6424695-C937-077A-E6C1-A9625352A9D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223334" y="549031"/>
            <a:ext cx="11745332" cy="7197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lvl="0" indent="0" algn="just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600" b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34" lvl="2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46" lvl="3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57" lvl="4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69" lvl="5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80" lvl="6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91" lvl="7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903" lvl="8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lang="en-US" dirty="0"/>
          </a:p>
        </p:txBody>
      </p:sp>
      <p:sp>
        <p:nvSpPr>
          <p:cNvPr id="9" name="Google Shape;16;p33">
            <a:extLst>
              <a:ext uri="{FF2B5EF4-FFF2-40B4-BE49-F238E27FC236}">
                <a16:creationId xmlns:a16="http://schemas.microsoft.com/office/drawing/2014/main" id="{96433282-6176-91FD-A1BF-AF9FD8F2C25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23334" y="154272"/>
            <a:ext cx="8897002" cy="4044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500" b="1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defRPr>
            </a:lvl1pPr>
            <a:lvl2pPr marL="914423" lvl="1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34" lvl="2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46" lvl="3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57" lvl="4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69" lvl="5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80" lvl="6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91" lvl="7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903" lvl="8" indent="-31750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cxnSp>
        <p:nvCxnSpPr>
          <p:cNvPr id="10" name="직선 연결선 9">
            <a:extLst>
              <a:ext uri="{FF2B5EF4-FFF2-40B4-BE49-F238E27FC236}">
                <a16:creationId xmlns:a16="http://schemas.microsoft.com/office/drawing/2014/main" id="{121893B2-F323-E587-E4E6-2910481C894F}"/>
              </a:ext>
            </a:extLst>
          </p:cNvPr>
          <p:cNvCxnSpPr>
            <a:cxnSpLocks/>
          </p:cNvCxnSpPr>
          <p:nvPr userDrawn="1"/>
        </p:nvCxnSpPr>
        <p:spPr>
          <a:xfrm>
            <a:off x="198657" y="531065"/>
            <a:ext cx="11794686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5398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 preserve="1" userDrawn="1">
  <p:cSld name="종료">
    <p:bg>
      <p:bgPr>
        <a:solidFill>
          <a:srgbClr val="F6F4F3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ities: Skylines II - Paradox Interactiv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Google Shape;1411;p152">
            <a:extLst>
              <a:ext uri="{FF2B5EF4-FFF2-40B4-BE49-F238E27FC236}">
                <a16:creationId xmlns:a16="http://schemas.microsoft.com/office/drawing/2014/main" id="{A465F122-586E-C0E5-6878-56D460C80E7F}"/>
              </a:ext>
            </a:extLst>
          </p:cNvPr>
          <p:cNvSpPr txBox="1"/>
          <p:nvPr userDrawn="1"/>
        </p:nvSpPr>
        <p:spPr>
          <a:xfrm>
            <a:off x="4223792" y="188640"/>
            <a:ext cx="3744416" cy="20162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lnSpc>
                <a:spcPct val="115000"/>
              </a:lnSpc>
            </a:pPr>
            <a:r>
              <a:rPr lang="en-US" altLang="ko-KR" sz="4000" b="1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End of Page</a:t>
            </a:r>
          </a:p>
          <a:p>
            <a:pPr algn="ctr">
              <a:lnSpc>
                <a:spcPct val="115000"/>
              </a:lnSpc>
            </a:pPr>
            <a:endParaRPr lang="en-US" altLang="ko-KR" sz="4000" b="1" kern="1200" spc="-150" dirty="0" smtClean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Pretendard"/>
            </a:endParaRPr>
          </a:p>
          <a:p>
            <a:pPr algn="ctr">
              <a:lnSpc>
                <a:spcPct val="115000"/>
              </a:lnSpc>
            </a:pPr>
            <a:r>
              <a:rPr lang="en-US" altLang="ko-KR" sz="4000" b="1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- </a:t>
            </a:r>
            <a:r>
              <a:rPr lang="ko-KR" altLang="en-US" sz="4000" b="1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감 사 합 니 다 </a:t>
            </a:r>
            <a:r>
              <a:rPr lang="en-US" altLang="ko-KR" sz="4000" b="1" kern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rPr>
              <a:t>-</a:t>
            </a:r>
            <a:endParaRPr lang="ko-KR" altLang="en-US" sz="4000" b="1" kern="1200" spc="-15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Pretendard"/>
            </a:endParaRPr>
          </a:p>
        </p:txBody>
      </p:sp>
    </p:spTree>
    <p:extLst>
      <p:ext uri="{BB962C8B-B14F-4D97-AF65-F5344CB8AC3E}">
        <p14:creationId xmlns:p14="http://schemas.microsoft.com/office/powerpoint/2010/main" val="33768777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5FC7FBBB-31FC-6FCE-CADF-0BDBA04DA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A1F1C27B-A5A2-5FA3-4205-2DA155DFB7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752A65E-3ABD-D46E-E8AA-6DB44BE746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2E479-7B37-3A49-A82E-3D4B5C151CB5}" type="datetimeFigureOut">
              <a:rPr kumimoji="1" lang="ko-KR" altLang="en-US" smtClean="0"/>
              <a:t>2024-07-09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E47824A-8FB5-B1C2-5B13-DFD1D4916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5047917-BCFB-5BD5-5863-872B345BFB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91850A-3130-954F-B8E5-2D8650B03C8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382506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6" r:id="rId2"/>
    <p:sldLayoutId id="2147483662" r:id="rId3"/>
    <p:sldLayoutId id="2147483663" r:id="rId4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7" Type="http://schemas.openxmlformats.org/officeDocument/2006/relationships/image" Target="../media/image2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18.jp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71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사각형: 둥근 모서리 79">
            <a:extLst>
              <a:ext uri="{FF2B5EF4-FFF2-40B4-BE49-F238E27FC236}">
                <a16:creationId xmlns:a16="http://schemas.microsoft.com/office/drawing/2014/main" id="{949D3F7C-9CC4-2775-5C69-19F507C303B6}"/>
              </a:ext>
            </a:extLst>
          </p:cNvPr>
          <p:cNvSpPr/>
          <p:nvPr/>
        </p:nvSpPr>
        <p:spPr>
          <a:xfrm>
            <a:off x="0" y="3620278"/>
            <a:ext cx="12192000" cy="1968962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  <a:alpha val="86000"/>
            </a:schemeClr>
          </a:solidFill>
          <a:ln w="6350" cap="flat" cmpd="sng" algn="ctr">
            <a:noFill/>
            <a:prstDash val="sysDash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  <a:defRPr/>
            </a:pPr>
            <a:endParaRPr lang="ko-KR" altLang="en-US" sz="1015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3B0DDE42-A893-C03C-A076-D8AD448A7ADB}"/>
              </a:ext>
            </a:extLst>
          </p:cNvPr>
          <p:cNvGrpSpPr/>
          <p:nvPr/>
        </p:nvGrpSpPr>
        <p:grpSpPr>
          <a:xfrm>
            <a:off x="119336" y="3792246"/>
            <a:ext cx="9577064" cy="1625026"/>
            <a:chOff x="479376" y="5373216"/>
            <a:chExt cx="6264696" cy="1625026"/>
          </a:xfrm>
        </p:grpSpPr>
        <p:sp>
          <p:nvSpPr>
            <p:cNvPr id="8" name="Google Shape;1411;p152">
              <a:extLst>
                <a:ext uri="{FF2B5EF4-FFF2-40B4-BE49-F238E27FC236}">
                  <a16:creationId xmlns:a16="http://schemas.microsoft.com/office/drawing/2014/main" id="{A465F122-586E-C0E5-6878-56D460C80E7F}"/>
                </a:ext>
              </a:extLst>
            </p:cNvPr>
            <p:cNvSpPr txBox="1"/>
            <p:nvPr userDrawn="1"/>
          </p:nvSpPr>
          <p:spPr>
            <a:xfrm>
              <a:off x="479376" y="6165304"/>
              <a:ext cx="6264696" cy="83293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>
                <a:lnSpc>
                  <a:spcPct val="115000"/>
                </a:lnSpc>
              </a:pPr>
              <a:r>
                <a:rPr lang="en-US" altLang="ko-KR" sz="3600" b="1" kern="1200" spc="-150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[DAPT] </a:t>
              </a:r>
              <a:r>
                <a:rPr lang="ko-KR" altLang="en-US" sz="3600" b="1" spc="-150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인구 이동</a:t>
              </a:r>
              <a:r>
                <a:rPr lang="ko-KR" altLang="en-US" sz="3600" b="1" kern="1200" spc="-150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데이터를 </a:t>
              </a:r>
              <a:r>
                <a:rPr lang="ko-KR" altLang="en-US" sz="3600" b="1" kern="1200" spc="-150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활용한 </a:t>
              </a:r>
              <a:r>
                <a:rPr lang="ko-KR" altLang="en-US" sz="3600" b="1" spc="-150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지방 소멸 위기 </a:t>
              </a:r>
              <a:r>
                <a:rPr lang="ko-KR" altLang="en-US" sz="3600" b="1" kern="1200" spc="-150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Pretendard"/>
                </a:rPr>
                <a:t>분석</a:t>
              </a:r>
              <a:endParaRPr lang="ko-KR" altLang="en-US" sz="3600" b="1" kern="1200" spc="-150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Pretendard"/>
              </a:endParaRPr>
            </a:p>
          </p:txBody>
        </p:sp>
        <p:sp>
          <p:nvSpPr>
            <p:cNvPr id="9" name="Google Shape;1412;p152">
              <a:extLst>
                <a:ext uri="{FF2B5EF4-FFF2-40B4-BE49-F238E27FC236}">
                  <a16:creationId xmlns:a16="http://schemas.microsoft.com/office/drawing/2014/main" id="{EC235572-EA03-263E-E385-5D358C2A8BD3}"/>
                </a:ext>
              </a:extLst>
            </p:cNvPr>
            <p:cNvSpPr txBox="1"/>
            <p:nvPr userDrawn="1"/>
          </p:nvSpPr>
          <p:spPr>
            <a:xfrm>
              <a:off x="479376" y="5373216"/>
              <a:ext cx="5688632" cy="59304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r>
                <a:rPr lang="en-US" sz="1800" b="1" u="none" kern="1200" dirty="0" smtClean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July. 26 </a:t>
              </a:r>
              <a:r>
                <a:rPr 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/ 2024 </a:t>
              </a:r>
            </a:p>
            <a:p>
              <a:r>
                <a:rPr lang="ko-KR" altLang="en-US" b="1" dirty="0" smtClean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최종</a:t>
              </a:r>
              <a:r>
                <a:rPr lang="ko-KR" altLang="en-US" sz="1800" b="1" u="none" kern="1200" dirty="0" smtClean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프로젝트 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발표 </a:t>
              </a:r>
              <a:r>
                <a:rPr 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@ 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연세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IT</a:t>
              </a:r>
              <a:r>
                <a:rPr lang="ko-KR" altLang="en-US" sz="1800" b="1" u="none" kern="1200" dirty="0" err="1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미래교육원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 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(702</a:t>
              </a:r>
              <a:r>
                <a:rPr lang="ko-KR" altLang="en-US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호</a:t>
              </a:r>
              <a:r>
                <a:rPr lang="en-US" altLang="ko-KR" sz="1800" b="1" u="none" kern="1200" dirty="0">
                  <a:solidFill>
                    <a:schemeClr val="bg1"/>
                  </a:solidFill>
                  <a:latin typeface="Pretendard" pitchFamily="2" charset="0"/>
                  <a:ea typeface="Pretendard" pitchFamily="2" charset="0"/>
                  <a:cs typeface="Pretendard" pitchFamily="2" charset="0"/>
                  <a:sym typeface="Pretendard"/>
                </a:rPr>
                <a:t>)</a:t>
              </a:r>
              <a:endParaRPr sz="1800" b="1" u="none" kern="1200" dirty="0">
                <a:solidFill>
                  <a:schemeClr val="bg1"/>
                </a:solidFill>
                <a:latin typeface="Pretendard" pitchFamily="2" charset="0"/>
                <a:ea typeface="Pretendard" pitchFamily="2" charset="0"/>
                <a:cs typeface="Pretendard" pitchFamily="2" charset="0"/>
                <a:sym typeface="Pretendard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030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C4769F0-EE15-1AF6-EE93-DE84CF5A808D}"/>
              </a:ext>
            </a:extLst>
          </p:cNvPr>
          <p:cNvSpPr txBox="1"/>
          <p:nvPr/>
        </p:nvSpPr>
        <p:spPr>
          <a:xfrm>
            <a:off x="1871394" y="1280238"/>
            <a:ext cx="8449212" cy="5171362"/>
          </a:xfrm>
          <a:prstGeom prst="rect">
            <a:avLst/>
          </a:prstGeom>
          <a:noFill/>
        </p:spPr>
        <p:txBody>
          <a:bodyPr wrap="square" lIns="144000" tIns="144000" rIns="144000" bIns="144000" rtlCol="0" anchor="ctr">
            <a:noAutofit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프로젝트 개요</a:t>
            </a:r>
            <a:endParaRPr kumimoji="1" lang="en-US" altLang="ko-KR" sz="2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2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팀원 소개 및 역할</a:t>
            </a:r>
            <a:endParaRPr kumimoji="1" lang="en-US" altLang="ko-KR" sz="2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2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개발 과정</a:t>
            </a:r>
            <a:endParaRPr kumimoji="1" lang="en-US" altLang="ko-KR" sz="2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endParaRPr kumimoji="1" lang="en-US" altLang="ko-KR" sz="2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kumimoji="1" lang="ko-KR" altLang="en-US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결론</a:t>
            </a:r>
            <a:endParaRPr kumimoji="1" lang="en-US" altLang="ko-KR" sz="2500" dirty="0">
              <a:solidFill>
                <a:schemeClr val="tx1">
                  <a:lumMod val="75000"/>
                  <a:lumOff val="25000"/>
                </a:schemeClr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3" name="제목 12">
            <a:extLst>
              <a:ext uri="{FF2B5EF4-FFF2-40B4-BE49-F238E27FC236}">
                <a16:creationId xmlns:a16="http://schemas.microsoft.com/office/drawing/2014/main" id="{92288815-D1AC-76FE-7BC1-1F83D75E8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dirty="0">
                <a:solidFill>
                  <a:srgbClr val="40404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Contents</a:t>
            </a:r>
            <a:endParaRPr lang="ko-KR" altLang="en-US" b="1" dirty="0">
              <a:solidFill>
                <a:srgbClr val="40404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4049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2" y="154272"/>
            <a:ext cx="3640420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정의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3B077A63-09BF-7EFC-2B91-C3EC002F749D}"/>
              </a:ext>
            </a:extLst>
          </p:cNvPr>
          <p:cNvGrpSpPr/>
          <p:nvPr/>
        </p:nvGrpSpPr>
        <p:grpSpPr>
          <a:xfrm>
            <a:off x="1527343" y="1003854"/>
            <a:ext cx="7663967" cy="1915629"/>
            <a:chOff x="1527343" y="1003854"/>
            <a:chExt cx="7918841" cy="1915629"/>
          </a:xfrm>
        </p:grpSpPr>
        <p:sp>
          <p:nvSpPr>
            <p:cNvPr id="5" name="직사각형 4"/>
            <p:cNvSpPr/>
            <p:nvPr/>
          </p:nvSpPr>
          <p:spPr>
            <a:xfrm>
              <a:off x="3049688" y="1003854"/>
              <a:ext cx="6396496" cy="92333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5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outerShdw blurRad="50800" dist="38100" algn="l" rotWithShape="0">
                      <a:prstClr val="black">
                        <a:alpha val="40000"/>
                      </a:prstClr>
                    </a:outerShdw>
                  </a:effectLst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지방 소멸</a:t>
              </a:r>
              <a:r>
                <a:rPr lang="en-US" altLang="ko-KR" sz="5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outerShdw blurRad="50800" dist="38100" algn="l" rotWithShape="0">
                      <a:prstClr val="black">
                        <a:alpha val="40000"/>
                      </a:prstClr>
                    </a:outerShdw>
                  </a:effectLst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?</a:t>
              </a:r>
              <a:endParaRPr lang="en-US" altLang="ko-KR" sz="54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pic>
          <p:nvPicPr>
            <p:cNvPr id="5130" name="Picture 10">
              <a:extLst>
                <a:ext uri="{FF2B5EF4-FFF2-40B4-BE49-F238E27FC236}">
                  <a16:creationId xmlns:a16="http://schemas.microsoft.com/office/drawing/2014/main" id="{FDE877D2-86FE-3F24-CD18-C6625CF95B9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7343" y="1731483"/>
              <a:ext cx="1258546" cy="118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그룹 22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24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25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26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27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28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  <p:sp>
        <p:nvSpPr>
          <p:cNvPr id="18" name="사각형: 둥근 모서리 79">
            <a:extLst>
              <a:ext uri="{FF2B5EF4-FFF2-40B4-BE49-F238E27FC236}">
                <a16:creationId xmlns:a16="http://schemas.microsoft.com/office/drawing/2014/main" id="{DF4D2056-26EF-A27B-6197-EEDFFBB396C5}"/>
              </a:ext>
            </a:extLst>
          </p:cNvPr>
          <p:cNvSpPr/>
          <p:nvPr/>
        </p:nvSpPr>
        <p:spPr>
          <a:xfrm>
            <a:off x="2526248" y="3297928"/>
            <a:ext cx="7139504" cy="899638"/>
          </a:xfrm>
          <a:prstGeom prst="roundRect">
            <a:avLst>
              <a:gd name="adj" fmla="val 12722"/>
            </a:avLst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dirty="0" smtClean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일본 </a:t>
            </a:r>
            <a:r>
              <a:rPr lang="ko-KR" altLang="en-US" dirty="0" err="1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창성회의</a:t>
            </a:r>
            <a:r>
              <a:rPr lang="ko-KR" altLang="en-US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 의장 출신인 마스다 </a:t>
            </a:r>
            <a:r>
              <a:rPr lang="ko-KR" altLang="en-US" dirty="0" err="1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히로야</a:t>
            </a:r>
            <a:r>
              <a:rPr lang="en-US" altLang="ko-KR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(</a:t>
            </a:r>
            <a:r>
              <a:rPr lang="ko-KR" altLang="en-US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増田寛也</a:t>
            </a:r>
            <a:r>
              <a:rPr lang="en-US" altLang="ko-KR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)</a:t>
            </a:r>
            <a:r>
              <a:rPr lang="ko-KR" altLang="en-US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가 처음 </a:t>
            </a:r>
            <a:r>
              <a:rPr lang="ko-KR" altLang="en-US" dirty="0" smtClean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사용</a:t>
            </a:r>
            <a:endParaRPr lang="en-US" altLang="ko-KR" dirty="0"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19" name="사각형: 둥근 모서리 79">
            <a:extLst>
              <a:ext uri="{FF2B5EF4-FFF2-40B4-BE49-F238E27FC236}">
                <a16:creationId xmlns:a16="http://schemas.microsoft.com/office/drawing/2014/main" id="{DF4D2056-26EF-A27B-6197-EEDFFBB396C5}"/>
              </a:ext>
            </a:extLst>
          </p:cNvPr>
          <p:cNvSpPr/>
          <p:nvPr/>
        </p:nvSpPr>
        <p:spPr>
          <a:xfrm>
            <a:off x="2526248" y="4372587"/>
            <a:ext cx="7139504" cy="899638"/>
          </a:xfrm>
          <a:prstGeom prst="roundRect">
            <a:avLst>
              <a:gd name="adj" fmla="val 12722"/>
            </a:avLst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dirty="0" err="1" smtClean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저출산</a:t>
            </a:r>
            <a:r>
              <a:rPr lang="en-US" altLang="ko-KR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·</a:t>
            </a:r>
            <a:r>
              <a:rPr lang="ko-KR" altLang="en-US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고령화와 대도시로의 인구 이동으로 인해 발생하는 </a:t>
            </a:r>
            <a:endParaRPr lang="en-US" altLang="ko-KR" dirty="0" smtClean="0"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algn="ctr"/>
            <a:r>
              <a:rPr lang="ko-KR" altLang="en-US" dirty="0" smtClean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지방의 </a:t>
            </a:r>
            <a:r>
              <a:rPr lang="ko-KR" altLang="en-US" b="1" dirty="0" err="1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과소지역화</a:t>
            </a:r>
            <a:r>
              <a:rPr lang="ko-KR" altLang="en-US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 내지는 </a:t>
            </a:r>
            <a:r>
              <a:rPr lang="ko-KR" altLang="en-US" b="1" dirty="0" err="1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무거주화</a:t>
            </a:r>
            <a:r>
              <a:rPr lang="ko-KR" altLang="en-US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 </a:t>
            </a:r>
            <a:r>
              <a:rPr lang="ko-KR" altLang="en-US" dirty="0" smtClean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현상</a:t>
            </a:r>
            <a:endParaRPr lang="en-US" altLang="ko-KR" dirty="0"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415480" y="1844824"/>
            <a:ext cx="9361040" cy="39604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사각형: 둥근 모서리 79">
            <a:extLst>
              <a:ext uri="{FF2B5EF4-FFF2-40B4-BE49-F238E27FC236}">
                <a16:creationId xmlns:a16="http://schemas.microsoft.com/office/drawing/2014/main" id="{DF4D2056-26EF-A27B-6197-EEDFFBB396C5}"/>
              </a:ext>
            </a:extLst>
          </p:cNvPr>
          <p:cNvSpPr/>
          <p:nvPr/>
        </p:nvSpPr>
        <p:spPr>
          <a:xfrm>
            <a:off x="2330904" y="2019845"/>
            <a:ext cx="7530192" cy="899638"/>
          </a:xfrm>
          <a:prstGeom prst="roundRect">
            <a:avLst>
              <a:gd name="adj" fmla="val 12722"/>
            </a:avLst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2400" dirty="0" smtClean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“</a:t>
            </a:r>
            <a:r>
              <a:rPr lang="ko-KR" altLang="en-US" sz="2400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누군가가 살아왔고 현재도 생활터전이 되는 </a:t>
            </a:r>
            <a:endParaRPr lang="en-US" altLang="ko-KR" sz="2400" dirty="0" smtClean="0"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  <a:p>
            <a:pPr algn="ctr"/>
            <a:r>
              <a:rPr lang="ko-KR" altLang="en-US" sz="2400" b="1" dirty="0" smtClean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지역과 </a:t>
            </a:r>
            <a:r>
              <a:rPr lang="ko-KR" altLang="en-US" sz="2400" b="1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마을</a:t>
            </a:r>
            <a:r>
              <a:rPr lang="ko-KR" altLang="en-US" sz="2400" dirty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이 사라진다는 것</a:t>
            </a:r>
            <a:r>
              <a:rPr lang="en-US" altLang="ko-KR" sz="2400" dirty="0" smtClean="0"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rPr>
              <a:t>”</a:t>
            </a:r>
            <a:endParaRPr lang="en-US" altLang="ko-KR" sz="2400" dirty="0"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</a:endParaRPr>
          </a:p>
        </p:txBody>
      </p:sp>
      <p:sp>
        <p:nvSpPr>
          <p:cNvPr id="22" name="삼각형 1">
            <a:extLst>
              <a:ext uri="{FF2B5EF4-FFF2-40B4-BE49-F238E27FC236}">
                <a16:creationId xmlns:a16="http://schemas.microsoft.com/office/drawing/2014/main" id="{EA4073C8-AC7A-E307-1634-C2E5CB479987}"/>
              </a:ext>
            </a:extLst>
          </p:cNvPr>
          <p:cNvSpPr/>
          <p:nvPr/>
        </p:nvSpPr>
        <p:spPr>
          <a:xfrm rot="5400000">
            <a:off x="1818754" y="3475225"/>
            <a:ext cx="635214" cy="538479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sp>
        <p:nvSpPr>
          <p:cNvPr id="29" name="삼각형 1">
            <a:extLst>
              <a:ext uri="{FF2B5EF4-FFF2-40B4-BE49-F238E27FC236}">
                <a16:creationId xmlns:a16="http://schemas.microsoft.com/office/drawing/2014/main" id="{EA4073C8-AC7A-E307-1634-C2E5CB479987}"/>
              </a:ext>
            </a:extLst>
          </p:cNvPr>
          <p:cNvSpPr/>
          <p:nvPr/>
        </p:nvSpPr>
        <p:spPr>
          <a:xfrm rot="5400000">
            <a:off x="1818753" y="4553167"/>
            <a:ext cx="635214" cy="538479"/>
          </a:xfrm>
          <a:prstGeom prst="triangle">
            <a:avLst/>
          </a:prstGeom>
          <a:solidFill>
            <a:sysClr val="windowText" lastClr="000000">
              <a:lumMod val="65000"/>
              <a:lumOff val="35000"/>
              <a:alpha val="2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84396" tIns="42198" rIns="84396" bIns="42198" rtlCol="0" anchor="ctr"/>
          <a:lstStyle/>
          <a:p>
            <a:pPr>
              <a:defRPr/>
            </a:pPr>
            <a:endParaRPr kumimoji="1" lang="ko-KR" altLang="en-US" sz="1015" dirty="0">
              <a:solidFill>
                <a:prstClr val="black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2608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2" y="154272"/>
            <a:ext cx="3928451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선정 이유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43ACA71B-7121-BC8C-CF0C-F43DE07BF5E2}"/>
              </a:ext>
            </a:extLst>
          </p:cNvPr>
          <p:cNvGrpSpPr/>
          <p:nvPr/>
        </p:nvGrpSpPr>
        <p:grpSpPr>
          <a:xfrm>
            <a:off x="1188744" y="1009442"/>
            <a:ext cx="9814513" cy="5515902"/>
            <a:chOff x="1188744" y="1009442"/>
            <a:chExt cx="9814513" cy="5515902"/>
          </a:xfrm>
        </p:grpSpPr>
        <p:sp>
          <p:nvSpPr>
            <p:cNvPr id="32" name="오른쪽 화살표 89">
              <a:extLst>
                <a:ext uri="{FF2B5EF4-FFF2-40B4-BE49-F238E27FC236}">
                  <a16:creationId xmlns:a16="http://schemas.microsoft.com/office/drawing/2014/main" id="{43CAE33E-2E5D-39DE-C13D-59A1D55B132B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 bwMode="auto">
            <a:xfrm>
              <a:off x="3496287" y="2689476"/>
              <a:ext cx="5199426" cy="1226691"/>
            </a:xfrm>
            <a:prstGeom prst="rightArrow">
              <a:avLst/>
            </a:prstGeom>
            <a:solidFill>
              <a:sysClr val="windowText" lastClr="000000">
                <a:lumMod val="65000"/>
                <a:lumOff val="35000"/>
                <a:alpha val="2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>
                <a:defRPr/>
              </a:pPr>
              <a:endParaRPr kumimoji="1" lang="ko-KR" altLang="en-US" sz="1015" dirty="0">
                <a:solidFill>
                  <a:prstClr val="black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5" name="직사각형 4"/>
            <p:cNvSpPr/>
            <p:nvPr/>
          </p:nvSpPr>
          <p:spPr>
            <a:xfrm>
              <a:off x="3577169" y="1009442"/>
              <a:ext cx="5037662" cy="92333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5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왜 </a:t>
              </a:r>
              <a:r>
                <a:rPr lang="ko-KR" altLang="en-US" sz="5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지방 소멸인가</a:t>
              </a:r>
              <a:r>
                <a:rPr lang="en-US" altLang="ko-KR" sz="5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?</a:t>
              </a:r>
            </a:p>
          </p:txBody>
        </p:sp>
        <p:grpSp>
          <p:nvGrpSpPr>
            <p:cNvPr id="7" name="그룹 6">
              <a:extLst>
                <a:ext uri="{FF2B5EF4-FFF2-40B4-BE49-F238E27FC236}">
                  <a16:creationId xmlns:a16="http://schemas.microsoft.com/office/drawing/2014/main" id="{18C1D4C8-0AC7-E8C9-CA23-2EE2A47D6A69}"/>
                </a:ext>
              </a:extLst>
            </p:cNvPr>
            <p:cNvGrpSpPr/>
            <p:nvPr/>
          </p:nvGrpSpPr>
          <p:grpSpPr>
            <a:xfrm>
              <a:off x="1188744" y="5035312"/>
              <a:ext cx="9814512" cy="1490032"/>
              <a:chOff x="1149685" y="5035312"/>
              <a:chExt cx="9814512" cy="1490032"/>
            </a:xfrm>
          </p:grpSpPr>
          <p:sp>
            <p:nvSpPr>
              <p:cNvPr id="3" name="사각형: 둥근 모서리 79">
                <a:extLst>
                  <a:ext uri="{FF2B5EF4-FFF2-40B4-BE49-F238E27FC236}">
                    <a16:creationId xmlns:a16="http://schemas.microsoft.com/office/drawing/2014/main" id="{DF4D2056-26EF-A27B-6197-EEDFFBB396C5}"/>
                  </a:ext>
                </a:extLst>
              </p:cNvPr>
              <p:cNvSpPr/>
              <p:nvPr/>
            </p:nvSpPr>
            <p:spPr>
              <a:xfrm>
                <a:off x="1149685" y="5035312"/>
                <a:ext cx="9814512" cy="1490032"/>
              </a:xfrm>
              <a:prstGeom prst="roundRect">
                <a:avLst>
                  <a:gd name="adj" fmla="val 12722"/>
                </a:avLst>
              </a:prstGeom>
              <a:solidFill>
                <a:sysClr val="window" lastClr="FFFFFF"/>
              </a:solidFill>
              <a:ln w="6350" cap="flat" cmpd="sng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62B80E80-DC13-DB8D-FF8B-25073FEC76DF}"/>
                  </a:ext>
                </a:extLst>
              </p:cNvPr>
              <p:cNvSpPr txBox="1"/>
              <p:nvPr/>
            </p:nvSpPr>
            <p:spPr>
              <a:xfrm>
                <a:off x="1149685" y="5241719"/>
                <a:ext cx="9814512" cy="10772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ko-KR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“</a:t>
                </a:r>
                <a:r>
                  <a:rPr lang="ko-KR" altLang="en-US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사회에서 지역소멸 및 지방소멸 문제를 심각하게 인식 중</a:t>
                </a:r>
                <a:r>
                  <a:rPr lang="en-US" altLang="ko-KR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,</a:t>
                </a:r>
              </a:p>
              <a:p>
                <a:pPr algn="ctr"/>
                <a:r>
                  <a:rPr lang="ko-KR" altLang="en-US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이에</a:t>
                </a:r>
                <a:r>
                  <a:rPr lang="en-US" altLang="ko-KR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, </a:t>
                </a:r>
                <a:r>
                  <a:rPr lang="ko-KR" altLang="en-US" sz="3200" b="1" u="sng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지역 소멸위기 해소</a:t>
                </a:r>
                <a:r>
                  <a:rPr lang="ko-KR" altLang="en-US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에 도움이 되고자 함</a:t>
                </a:r>
                <a:r>
                  <a:rPr lang="en-US" altLang="ko-KR" sz="3200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”</a:t>
                </a:r>
              </a:p>
            </p:txBody>
          </p:sp>
        </p:grpSp>
        <p:sp>
          <p:nvSpPr>
            <p:cNvPr id="6" name="사다리꼴 5">
              <a:extLst>
                <a:ext uri="{FF2B5EF4-FFF2-40B4-BE49-F238E27FC236}">
                  <a16:creationId xmlns:a16="http://schemas.microsoft.com/office/drawing/2014/main" id="{D5632970-BEFE-DE4F-674B-B4BF80066026}"/>
                </a:ext>
              </a:extLst>
            </p:cNvPr>
            <p:cNvSpPr/>
            <p:nvPr/>
          </p:nvSpPr>
          <p:spPr>
            <a:xfrm>
              <a:off x="1307468" y="4438848"/>
              <a:ext cx="9577064" cy="596464"/>
            </a:xfrm>
            <a:prstGeom prst="trapezoid">
              <a:avLst>
                <a:gd name="adj" fmla="val 699340"/>
              </a:avLst>
            </a:prstGeom>
            <a:gradFill flip="none" rotWithShape="1">
              <a:gsLst>
                <a:gs pos="59000">
                  <a:srgbClr val="D9D9D9"/>
                </a:gs>
                <a:gs pos="100000">
                  <a:schemeClr val="bg1">
                    <a:lumMod val="5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2" name="사각형: 둥근 모서리 11">
              <a:extLst>
                <a:ext uri="{FF2B5EF4-FFF2-40B4-BE49-F238E27FC236}">
                  <a16:creationId xmlns:a16="http://schemas.microsoft.com/office/drawing/2014/main" id="{515414FF-DD25-ECD0-363C-47472D99EA5B}"/>
                </a:ext>
              </a:extLst>
            </p:cNvPr>
            <p:cNvSpPr/>
            <p:nvPr/>
          </p:nvSpPr>
          <p:spPr>
            <a:xfrm>
              <a:off x="4411389" y="1975063"/>
              <a:ext cx="3369225" cy="2655516"/>
            </a:xfrm>
            <a:prstGeom prst="roundRect">
              <a:avLst>
                <a:gd name="adj" fmla="val 10480"/>
              </a:avLst>
            </a:prstGeom>
            <a:solidFill>
              <a:schemeClr val="bg1">
                <a:lumMod val="85000"/>
              </a:schemeClr>
            </a:solidFill>
            <a:ln w="6350" cap="flat" cmpd="sng" algn="ctr">
              <a:solidFill>
                <a:schemeClr val="tx1"/>
              </a:solidFill>
              <a:prstDash val="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pic>
          <p:nvPicPr>
            <p:cNvPr id="6148" name="Picture 4">
              <a:extLst>
                <a:ext uri="{FF2B5EF4-FFF2-40B4-BE49-F238E27FC236}">
                  <a16:creationId xmlns:a16="http://schemas.microsoft.com/office/drawing/2014/main" id="{8F10F132-06EC-E6EA-5867-48BD46466A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04781" y="1975063"/>
              <a:ext cx="2182442" cy="26555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사각형: 둥근 모서리 17">
              <a:extLst>
                <a:ext uri="{FF2B5EF4-FFF2-40B4-BE49-F238E27FC236}">
                  <a16:creationId xmlns:a16="http://schemas.microsoft.com/office/drawing/2014/main" id="{EE9342C1-5F3A-02A9-CE79-3CAADF0823D3}"/>
                </a:ext>
              </a:extLst>
            </p:cNvPr>
            <p:cNvSpPr/>
            <p:nvPr/>
          </p:nvSpPr>
          <p:spPr>
            <a:xfrm>
              <a:off x="8695715" y="1975063"/>
              <a:ext cx="2307542" cy="2655516"/>
            </a:xfrm>
            <a:prstGeom prst="roundRect">
              <a:avLst>
                <a:gd name="adj" fmla="val 10480"/>
              </a:avLst>
            </a:prstGeom>
            <a:solidFill>
              <a:srgbClr val="E40200"/>
            </a:solidFill>
            <a:ln w="6350" cap="flat" cmpd="sng" algn="ctr">
              <a:solidFill>
                <a:schemeClr val="tx1"/>
              </a:solidFill>
              <a:prstDash val="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5A8E9C5-EC3D-9C23-B164-3F1B5487674E}"/>
                </a:ext>
              </a:extLst>
            </p:cNvPr>
            <p:cNvSpPr txBox="1"/>
            <p:nvPr/>
          </p:nvSpPr>
          <p:spPr>
            <a:xfrm>
              <a:off x="9295959" y="2979656"/>
              <a:ext cx="1107054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3600" b="1" dirty="0">
                  <a:solidFill>
                    <a:schemeClr val="bg1"/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심각</a:t>
              </a:r>
              <a:endParaRPr lang="ko-KR" altLang="en-US" sz="36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사각형: 둥근 모서리 16">
              <a:extLst>
                <a:ext uri="{FF2B5EF4-FFF2-40B4-BE49-F238E27FC236}">
                  <a16:creationId xmlns:a16="http://schemas.microsoft.com/office/drawing/2014/main" id="{B45CE944-5CB8-09C5-C1EB-89DAA9918182}"/>
                </a:ext>
              </a:extLst>
            </p:cNvPr>
            <p:cNvSpPr/>
            <p:nvPr/>
          </p:nvSpPr>
          <p:spPr>
            <a:xfrm>
              <a:off x="1188744" y="1975063"/>
              <a:ext cx="2307545" cy="2655516"/>
            </a:xfrm>
            <a:prstGeom prst="roundRect">
              <a:avLst>
                <a:gd name="adj" fmla="val 10480"/>
              </a:avLst>
            </a:prstGeom>
            <a:solidFill>
              <a:srgbClr val="A7FE02"/>
            </a:solidFill>
            <a:ln w="6350" cap="flat" cmpd="sng" algn="ctr">
              <a:solidFill>
                <a:schemeClr val="tx1"/>
              </a:solidFill>
              <a:prstDash val="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384C37C-66CA-63AB-CD19-8E8E52480B7F}"/>
                </a:ext>
              </a:extLst>
            </p:cNvPr>
            <p:cNvSpPr txBox="1"/>
            <p:nvPr/>
          </p:nvSpPr>
          <p:spPr>
            <a:xfrm>
              <a:off x="1743916" y="2979656"/>
              <a:ext cx="119720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3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양호</a:t>
              </a:r>
            </a:p>
          </p:txBody>
        </p:sp>
      </p:grpSp>
      <p:grpSp>
        <p:nvGrpSpPr>
          <p:cNvPr id="22" name="그룹 21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23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24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25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26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29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9713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2" y="154272"/>
            <a:ext cx="3928451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 smtClean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선정 이유</a:t>
            </a:r>
            <a:endParaRPr lang="ko-KR" altLang="en-US" sz="1800" b="1" dirty="0">
              <a:solidFill>
                <a:srgbClr val="404040"/>
              </a:solidFill>
              <a:latin typeface="Pretendard" panose="02000503000000000000" pitchFamily="2" charset="-127"/>
              <a:ea typeface="Pretendard" panose="02000503000000000000" pitchFamily="2" charset="-127"/>
              <a:cs typeface="Pretendard" panose="02000503000000020004" pitchFamily="50" charset="-127"/>
            </a:endParaRP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grpSp>
        <p:nvGrpSpPr>
          <p:cNvPr id="22" name="그룹 21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23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24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25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26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29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8404" y="1113943"/>
            <a:ext cx="4772691" cy="2676899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4242" y="3512234"/>
            <a:ext cx="4791744" cy="2667372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66049" y="2585391"/>
            <a:ext cx="4275857" cy="1061383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29360" y="1037022"/>
            <a:ext cx="5220429" cy="628738"/>
          </a:xfrm>
          <a:prstGeom prst="rect">
            <a:avLst/>
          </a:prstGeom>
        </p:spPr>
      </p:pic>
      <p:pic>
        <p:nvPicPr>
          <p:cNvPr id="13" name="그림 12"/>
          <p:cNvPicPr>
            <a:picLocks noChangeAspect="1"/>
          </p:cNvPicPr>
          <p:nvPr/>
        </p:nvPicPr>
        <p:blipFill rotWithShape="1">
          <a:blip r:embed="rId6"/>
          <a:srcRect r="41934"/>
          <a:stretch/>
        </p:blipFill>
        <p:spPr>
          <a:xfrm>
            <a:off x="1472504" y="3499116"/>
            <a:ext cx="5271568" cy="1486107"/>
          </a:xfrm>
          <a:prstGeom prst="rect">
            <a:avLst/>
          </a:prstGeom>
        </p:spPr>
      </p:pic>
      <p:pic>
        <p:nvPicPr>
          <p:cNvPr id="2" name="그림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67599" y="1586055"/>
            <a:ext cx="4143953" cy="1076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392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E89BEEE8-6A42-3F10-68FE-7E808196777E}"/>
              </a:ext>
            </a:extLst>
          </p:cNvPr>
          <p:cNvSpPr/>
          <p:nvPr/>
        </p:nvSpPr>
        <p:spPr>
          <a:xfrm>
            <a:off x="3348489" y="1049468"/>
            <a:ext cx="5495022" cy="5672423"/>
          </a:xfrm>
          <a:prstGeom prst="roundRect">
            <a:avLst>
              <a:gd name="adj" fmla="val 6410"/>
            </a:avLst>
          </a:prstGeom>
          <a:solidFill>
            <a:schemeClr val="bg1">
              <a:lumMod val="75000"/>
            </a:schemeClr>
          </a:solidFill>
          <a:ln w="63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atinLnBrk="0">
              <a:lnSpc>
                <a:spcPct val="120000"/>
              </a:lnSpc>
            </a:pPr>
            <a:endParaRPr lang="ko-KR" altLang="en-US" sz="1015" dirty="0">
              <a:solidFill>
                <a:srgbClr val="000000"/>
              </a:solidFill>
              <a:latin typeface="pretendard" panose="02000503000000020004" pitchFamily="2" charset="-127"/>
              <a:ea typeface="pretendard" panose="02000503000000020004" pitchFamily="2" charset="-127"/>
              <a:cs typeface="pretendard" panose="02000503000000020004" pitchFamily="2" charset="-127"/>
              <a:sym typeface="Arial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4162" y="1734645"/>
            <a:ext cx="3763677" cy="2327095"/>
          </a:xfrm>
          <a:prstGeom prst="rect">
            <a:avLst/>
          </a:prstGeom>
        </p:spPr>
      </p:pic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2656037C-6DD0-C3DA-411E-F3B22E567ABC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549031"/>
            <a:ext cx="11745332" cy="404431"/>
          </a:xfrm>
        </p:spPr>
        <p:txBody>
          <a:bodyPr/>
          <a:lstStyle/>
          <a:p>
            <a:r>
              <a:rPr lang="ko-KR" altLang="en-US" sz="1800" b="1" dirty="0"/>
              <a:t>분석 대상 </a:t>
            </a:r>
            <a:r>
              <a:rPr lang="en-US" altLang="ko-KR" sz="1800" b="1" dirty="0"/>
              <a:t>: </a:t>
            </a:r>
            <a:r>
              <a:rPr lang="ko-KR" altLang="en-US" sz="1800" b="1" dirty="0"/>
              <a:t>충청권 도시들 </a:t>
            </a:r>
            <a:r>
              <a:rPr lang="en-US" altLang="ko-KR" sz="1800" b="1" dirty="0"/>
              <a:t>(</a:t>
            </a:r>
            <a:r>
              <a:rPr lang="ko-KR" altLang="en-US" sz="1800" b="1" dirty="0"/>
              <a:t>세종</a:t>
            </a:r>
            <a:r>
              <a:rPr lang="en-US" altLang="ko-KR" sz="1800" b="1" dirty="0" smtClean="0"/>
              <a:t>, </a:t>
            </a:r>
            <a:r>
              <a:rPr lang="ko-KR" altLang="en-US" sz="1800" b="1" dirty="0"/>
              <a:t>충북</a:t>
            </a:r>
            <a:r>
              <a:rPr lang="en-US" altLang="ko-KR" sz="1800" b="1" dirty="0"/>
              <a:t>, </a:t>
            </a:r>
            <a:r>
              <a:rPr lang="ko-KR" altLang="en-US" sz="1800" b="1" dirty="0"/>
              <a:t>충남</a:t>
            </a:r>
            <a:r>
              <a:rPr lang="en-US" altLang="ko-KR" sz="1800" b="1" dirty="0"/>
              <a:t>)</a:t>
            </a:r>
            <a:endParaRPr lang="ko-KR" altLang="en-US" sz="1800" b="1" dirty="0"/>
          </a:p>
        </p:txBody>
      </p:sp>
      <p:sp>
        <p:nvSpPr>
          <p:cNvPr id="242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3784434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프로젝트 개요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–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분석 계획 </a:t>
            </a: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-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대상</a:t>
            </a:r>
          </a:p>
        </p:txBody>
      </p:sp>
      <p:sp>
        <p:nvSpPr>
          <p:cNvPr id="10" name="AutoShape 2" descr="data:image/png;base64,iVBORw0KGgoAAAANSUhEUgAAA9kAAAIrCAYAAAD7mVpMAAAAAXNSR0IArs4c6QAAIABJREFUeF7snQd403X+x5u9R5OmaZrRNm3a0l07KJTSUvYeioriQsR14oBTcByieHI4wHOwZKkHeqLsVVaZbeku3Xs3aZqk2Tv5+8k/4emh3NG7qqjfPE8fFNLfeH3n+7O+GD/0QQQQAUQAEUAEEAFEABFABBABRAARQAQQgREhgBmRq6CLIAKIACKACCACiAAigAggAogAIoAIIAKIgB8S2agT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ACKACCACiAAS2agPIAKIACKACCACiAAigAggAogAIoAIIAIjRACJ7BECiS6DCCACiAAigAggAogAIoAIIAKIACKACCCRjfoAIoAIIAKIACKACCACiAAigAggAogAIjBCBJDIHiGQ6DKIACKACCACiAAigAggAogAIoAIIAKIABLZqA8gAogAIoAIIAKIACKACCACiAAigAggAiNEAInsEQKJLoMIIAKIACKACCACiAAigAggAogAIoAIIJGN+gAigAggAogAIoAIIAKIACKACCACiAAiMEIEkMgeIZDoMogAIoAIIAKIACKACCACiAAigAggAogAEtmoDyACiAAigAggAogAIoAIIAKIACKACCACI0QAiewRAokugwggAogAIoAIIAKIACKACCACiAAigAggkY36ACKACCACiAAigAggAogAIoAIIAKIACIwQgSQyB4hkOgyiAAigAggAogAIoAIIAKIwJ1EwO12YzAYjPtOeib0LIjAH4EAEtl/hFb+nb0jWjCG36DADH4LFlrff9/qKmgxHj7fn/s3vG0GbQi7pRHZLA3tEz/386PrIwK/FwJD58+RHIsjda3fC2f0HiNHYEifHdE1ZOSeEF0JEfh9EkAi+/fZrr+rt7p5U/N7Fwcj/X5DBZq3Y/y7cX9DwPk2fcio8esPJ7fbjQUbCYjskRLa3muC4cX1678hegJE4LdBYMh8OiJj5+cwoP02SKKn/KUIePuYbw2B+X7EjLW/1Dug+yACv0UCSGT/FlsNPfOPCPyeheCd8G4jLfxRFx4+gZ+jDYb2rTuhnw2fCvoNRODOIPBzjM87483QU/weCNzcP9F8/3toVfQOdzoBJLLv9Bb6HT9fdXU10WKxMHt7exk2m41EIpH8rFarn81m87w1kUj0/On7ex8KLBbrotFodhqNZvX397eYzWZLSkqK5bfukSspKSH4+fmxurq6WAaDAR8SEqKjUqna1NRU03C6AVzH39+fWlpaysHj8WSXy4V1uVw3PNRUKtUNjH2ch7KG/x76XWDN5XLNfD5/MCoqyvhLWMB/rc3qzxEGOpx2G/pd37OUlpbiFQoF1+Fw0K1WKxHajMVi2el0ujk0NHQgNDTUOpwwU/Be5+fnU81mM99kMhGwWCwG2lsgEKglEoleLBab/9tnRr+HCNyJBEbCUwzj5tixYyw/Pz9/i8VChDnVuw5ZgoKCBpOSkvQwdcL7/6fxOMSriD98+DDXbDbTHQ4Hnkwmu/B4vDE9PV0lEAhgXDvvRJ6/xjP9WmvCr/GuI3VPH7O1a9disrOzOUajkWkwGEg8Hk8nFAp1UVFRBt+9/lOfHalnQtdBBP5oBJDI/qO1+B30viUlJSAmI5ubm8MNBkMAFosFgef5sdvtWCKR6Ia/gw8kEg9ZEBwYDMZEJBK1OBxO7XK5lDgcrj84ONg4ffp0+29VbF++fJnh5+cXVVVVFW2xWOjR0dGNWCy2btq0aX3Dabb6+nqGy+UKunjx4l0Wi4WPw+FwdrvdwxB44vF4NzB2Op03uOJwOM8tvDnb8FW30+nEEggEq1Ao7COTyTUzZ87sgI3kz7Egu91u3MaNG4l2ux2flZXlsFqt9gkTJjiG897/7XfPnz+Pb2xsJGo0GsLo0aOtOTk50Id+1Q2ubyNeVVVFrqqqSjOZTCFGo5HtNTqZGAyGnMvlFvP5fFVqaqr9dt+9ra2NXFxcLFIqleMcDgfNz88Pi8PhXHw+vzwpKalJJpMpb/da6HuIwJ1OAOaVb7/9FuYVcnBwsDknJ8c23PXBOxYJ33zzTaTZbE4wGo0sm81GxGAwDhaLpWYymTUpKSmNt2vwguu1t7eTnE4n8+LFi8l6vT7E4XCQsVisk0ajdc2fP7/YYDBowsLCLHc635/z+XzGkdLSUlxRURGJwWC4yWSyZeHChT/LGvRzvsuvcW0fv/z8fOzg4OBdGo0mfHBwkBscHNzC4/EaJ06c2IJShn6NlkH3/CMRQCL7j9Tad9i77tixIxiHw004derUNIVCEeVwOJxYLBbndrvxDoeDSCAQQBS6nE4nCGwQPeApcIEAxOFwDgKBYMNisSY+n981atSoaqlUekUmk7UnJycP/hYt35s2beJjsdjply5dmmwwGHjjxo27wGAwji5fvrxyOE1XUlISIJfLR3311VePDg4OjgIviZcpsMWA9xKLxXqENHgxQTRjMBiP4PYKaPh7FwheEomkS0lJKWUymd+/8cYbBbBBHWm20JxyuZxz8uTJaJVKFRobG1spFAq7EhISNMN57//mu3Dv6urq4OLiYllPT0+ITCa7Mn78+G6BQGD+OYwJw3lG2ABt3ryZVV9f/7hCoRijVCpFUCKWQqEYWSxW6+jRo7c/+OCDtVwuV3er697snb9w4YL41KlTmaWlpUthk///dhesPSYmZve99957JjMzs2U4z4i+iwjciQR8AqOmpiawoaEhtLW1NTYoKKhk6tSpLYGBgTc8eLfz7N5rkf785z9P1mq1C+VyucRsNlNhTWKxWJqAgIDv3njjjYNCoXDwPxnnfOPx8uXLbBwOJ9u6deuigYEBMIYSsVisg81mX3vllVd2OxyOjoyMjFuO69t57t/qd4bmDzc3N1ONRmNQQUFBpNVqtT7wwAMFPB4PotZ+EQPsb5Xh0Od+88038U6n84GOjo6cjo6O8KSkpIvh4eFnli9ffsErslF+9u+hodE73JEEkMi+I5vlj/FQO3fuFDudzulHjx5dODAwEIPH43UMBqOPRCIZbDYbATyuIAYdDgeIahB3HoHtcrlIoDXcbjddr9fTiUSimc1m90il0gtCofDSs88+W+7n5weL8G9q8fj444+DLRbLPWfPnp2j0+mCcnNzT7LZ7G9WrlxZPJweUVlZGdjW1pbw+eefP6/T6RLBQc1gMFR4PN7kdDod4M0GAQlsh4SG+4IFbghtEOdEItGQkJBQQaVSj7z88su+5xixCqUg/r/44gvW9evXx2s0mjS73Q7GhW9yc3OrIiIi+ofz3sP9blNTE6mlpYVz7NixyRaLJR6DwTBlMtnORx55pIbH4xnvBJG9ceNGdn19/UsKhWKCUqkMBZENgQlkMrk7MzPzs3Hjxl2eOHEiRBj85GeoyIYv7N27N62kpGRmcXHxo263G4QCGFfsCQkJmx5//PFDaWlpDcPliL6PCNxpBNxuN6G+vp65a9euLI1Gk+JwOCQCgWDvypUrCzkcjnY4z+sT2T+sK3M1Gs1jcrk8wm6302B+IBAIZpFI9M/HH398r8vlapowYYLl3+W6+v5t+/btYDCbcOTIkfvVanUCRBWBQOdwOBfXrVu3yW63t6Smpg7rOYfzTnfyd30GkoqKCub58+cjWltbcywWixCLxbatX79+T2trq2k40Tt38rv+Es8GIluv1y/r6OiY3t7eHp2SkpIXHh4O6/lJJLJ/iRZA9/gjE0Ai+4/c+r/yu4PIdjgc044dO3afTqeTBQQEdIWHh5+Ljo5utlohJQ3j6Z+wAQGvNmxqLBYL1mAw0LVabYBGoxG2trZG6XS6YLfbTYmMjKwTCoXfLVy4cH9ycrLmt2btBpFts9nuOXny5By9Xs+fOHHiSTqd/s/Vq1cPW2R3dXUlfPbZZ8sNBkMigUBwREVFXeXz+R1YLFYPahqPx3uYOhwOT3g+fOBPn7D0hulDKLEtJCSkk0AgVCxYsKDNW+Hao81GQoR2dXVRzp07J87Ly1s+MDCQZjabndOmTVt///33F4WFhfWPxD1u1c3Ly8vZvb29ETt27FhusVjAyKOOjIz868svv1xyp4jstWvXsvv6+l7s7++foFKpQnA4nBtSKTAYjC4zM/MbqVR6fNmyZbfsHzeJbOyGDRvmtre3z6+pqZmMwWAgwgEiRZxJSUmbli1bdjAxMRGJ7F95XkS3/98JVFZW0kgkkmjt2rXL1Gp1ltPpxIhEog0ffvhh3n8psolPPvnkHK1WCyI7EovFUsAIbDQa8WFhYafnzp37LYlEOj9nzhzwksPSdcuK/TAm33777RibzfZQaWlpjk6nC8Hj8Q4Yi2w2++L69es3kkiklvDw8D+kyPa1fklJieTAgQPZlZWVT0EtChwOd+mrr776a1tbmxmJ7NsfIyCyjUbjE+3t7dM6Ozujk5KSTstksiMrV648hUT27XNE30QE/hsCSGT/N9TQ74wIARDZVqt1BniyjUZjaFhYWCOdTt88ZsyYgoGBAQydTvfcx2Aw+A39byg6YzabKVCExmazja2vr8/p6enJAO91cHDwiaeffvqrwcHB63PnzoViNL+Zj09knzt3DjZzQRMmTDhBpVKHLbILCwv5CoUiYffu3c9qtdp4t9ttSk5O/iQ5Obmwubn5Rs4tm812m0y3rqlms9kwNBrNFRoaCpXozAsXLrR6j5C6wfR/FcFyuZyWl5cXdvLkyRUqlSrZYrGYcnNz333wwQeLfm5Pti+sftu2bS9YLJZIMpksDw8PX/fKK6+U8Pl80//6bv9rx4PN+OrVq9lKpfIllUqVMzg4KKTT6Vq73U5yOBw4mUxWwuVyv163bt3RWz2rbxMFuddKpZLyyiuvPKHX6+fr9XqR0+mEtAwMiPbExMSPHnvsMeTJ/l8bDf3+HUGgsLCQSSKRpG+//fZTOp1uLBQKlEgkH6xduzbP399/cDgP6TVU4cGTrdPpHuvr6wsnEAhQkNOmUqm4QUFBNTExMafIZPIXq1evVsG1/53IBsPixo0bM5RK5UqNRiOyWCxQQwPjcDiwbDb70l/+8pcP/fz8/rCebF/bVFVVSf/xj39MLCoqeppCoVhoNFr+1q1b1yORPZze6+cHIlun0z3R1dU1rbu7e1RKSopHZD///PM3PNnePnuj7s3w7oC+jQggArcigEQ26hu/GoGtW7dKMBjMjMOHDy80GAwhUqm03u12v7dr164Lt3qoIZ45bGlpKamxsTHi0qVLs7q7u+9TqVS8wMDAksmTJ3/vdDqPLV++/Fcv4jSc/OUPP/wQQuLuPnPmzFwQ2Tk5OcdHQGTHuVwuXXp6+l8feuihS/Hx8YrhNviQ6rw3zmn2XeN/FaK9vb3UkydPhubl5a3SarXJVqtVn52d/c4DDzxw7ecuwuUT2Vu3bn3JZrNFUqnUbrFY/Paf//zn0juhyjZwX79+PbutrW2FQqEAkc0PDQ2tt1qtFI1Gw/cWXfp69erVe6VSqeHmfNChVZVLS0spTqdT9N577z1lMplyWCyWwWQyQb4jA6obx8fHf/Rrh4vfnD8+3H767+aM/7WfjtSz/JLXGc7cM5zv/pLv8N/eC4o/2my20DVr1jxnMBgy6XS6kc/n/+3tt9/O4/F4wzK++kT28uXLYV5e0t3dLYWxx+VyB7q6uiIoFIqey+WWwhiaO3dux38qgHb+/HnRkSNHcmtra19iMBgmqDtiMBiYJpOJTqfTC1977bUP8Hh88x81XNzX5pWVlWF79uyZVFJSspzBYBgZDMbZffv2vePn54cqrw9jYIDIHhwcfKKnp2e6V2Tn3SSy4Woegf1HnCeHgRJ9FREYNgEksoeNDP3CSBEAkU0kEmd8//33C6HCqkQiacDhcBtuJbJvIfbwy5cvn63T6Z6CfCMWi9UVFxeX53A4dvztb3/ruflZvdWzsTU1NfiWlhZSV1cXsbe3F28ymTxlzKlUqksqldrFYrF1ypQp4MGFgmue0Oibc+2G/j8cm6VSqYgDAwPEjo4OvMFggMrcML6wdrvdTSQSnYGBgfaAgACoGGv7qQqpILL9/PwgJ3uuXq8PGj9+/HEajfbNfxMuDjnZu3btek6v18f6+fkNpqSkvPvkk09eGq53eEgRmhsLsZepjwmuoKCAWFFRQR4cHPS8t91uB+8ohs1me94ZWM6aNQuq+nqK1fjaMT8/n4jD4RhlZWWhBQUFK3Q6XbzT6dRlZGR8mJKSUm61WpU8Hu9H1b7BO9vc3Eyora0lKpVKQnd3N4TDee5LpVI9YfAMBsMRExMD7Wc1GAwO4D2kL2AKCgpIGo0mUK/XR+3du3e53W6X0un0HpFI9F5OTk6l1Wq10Ol0y9Df9fUBPz8/XF5eHvQdUmtrKwHuC9eGyAAWi+UQi8W2OXPmQDs7h1vJeGh/hfeEcPH+/v6Xent7IVycN2bMmNMgsjs6OqLMZjMrICDg4EsvvbSbyWR2yWQyiDTwfIaMFc//HjhwgIPD4dJ27979sMlkio6Pjy/r7+8PGhgYEIJ4B4GwdOnSg5CTfbPgguJw0MbXr18n6vV6glqtxkHfhveGSAhoZ5FI5AgPDwfelpycHHjvG14R3/VOnDgBVZ6JcDyd0+m0QfukpKQ4jx49SlYoFPBDgugJeGAYL/7+/jZv3wGWN8ag7x1/4h74vLw8YktLC3FoX2Sz2RibzeYmkUjOiIgIeEYYf/DnjT5x87Xg/998803smjVrcDt37iSbzWZPX/P2bbe/vz9cywzvEBsb68jLy6NotVo8nU53GwwGqIAMFeo9DG4K2ffMCdB/4Dn7+/sJ0Hfhe/CMMpnMQaFQbFDlPjY29sY1bp7HfPMN9EFgxOVygaWjoKCA3NDQQOro6IDj3qCdPO8tkUisHA7HOn36dM/5iN9++y02JiYGB+NWrVaT9Ho9jCEPdxizo0aNMiuVSvu9997rHDrP3WwIgT564sQJ6BOkzs5OArStbzwAIzabDePBM/69vH+UZgLXzM/PJ+l0Ok/fioqKshKJRIder3frdDoKzNHAdnBw0NM3vOxtMD5vPk0CrgX9jEKh+LtcLsnmzZuf0uv1YwgEgiUwMPD9u++++2x/f78lNDQU+ultVRofKrJ1Ot2S9vb2CIFA0BgTE9NUV1eXaDQa/TEYTO+kSZPeS09Pvz569GiPN/tWn/3796deuHBhRllZ2WMymaySyWQaent7wwYHBwOpVGrJmjVr3mez2c0QLn6rsQhtrFKpPPOtb8xwOBxnUFCQzdvOnlM2bup7nkfKz8/HwZGZwJREIrlgrsrPz3ebzWacwWAgQzsqFApPO/J4PBfMaYGBgVapVGqFPvafhJj3nlDVnTwwMECAsahQKLA0Gg36lxvmiqF99mZOvudzu92hx48fz62srHwGjCR0Oj3/gQceeA9OnvCOYd8cO3SuubG2+9YGjUYDEVkQDecSCAR26F9jxozx9Mchc7rnMXzvdvz4cRLMVdAf4ahQHo9nz8nJgXFD1ul0RN+aA+MLrgvjLzIyEtaqG3Pwv+MEJ1qQSCQCtGNfXx+Mm/8/RsXPD57TERsb65kfy8vLHTePwX/Xt37q33ye7M7Ozhk+kR0REXHkxRdfPOGrLn5ThJpnfezu7iZCX4C5QavVwtrqgj7GYDDs3ne9MX5u3hv55j1fW/rmZLgf9FfYEwUEBNhFIpHnPffv3+948803PfPxzXMMzHV6vZ7U3t6ODw4Otk+ZMsX67bffQpvDfos8dA6FNZjP5/v2b9A/UCX64XYY9P0RJYBE9ojiRBcbDgEIF3e73dO///77e8CTHRoaCkdWvb9z586L/yb8Ffrs/5835d0kr1y5EqpxP97a2ppGpVIHIK/b4XB8+tFHH3UPySH29XVnX18fpa2tjdff3x/R1tYWqlQq4cxgEuQp02g0k0gkUojF4obY2NgOsVg84C2iBveDhRAWApjgfYuiZ4FvaGgIam1tlSgUitDOzk6+zWaDwjgECOsFcUmhUAxCobA7KCioccaMGVDBGeK04Vq+53Jv3LgxGET2uXPn5kHhs/Hjxx/7b0T2lStXAlUqVdyOHTueB5GNxWK1aWlp7z7xxBOXpFLpsDzZQ72hXuY33hs2cV1dXZympiZxS0tLzMDAAFen08F5zlCYzk2lUg3BwcEKaFeZTNYBAt93vfb2dqJcLg/r7OwMa2lpiS4uLp5rMBhEOBzOkJiYeFwkErXR6fR+mUzW5O/v3xcTEwMhnh7W4JWlUCjBtbW1IQqFQiSXywMtFgucB+7pFxDGyeVy1XFxce1MJrM5IiJCDhVph/Amnj17FqqJR/b29o4qKiqaabFYeCQSSRkbG3ssIiKijUwma0NDQ+tkMpkiICAA2graCdoLq1AoOCUlJREKhSKivb09CCoDw33hnFsul6sQCAQdd911Vz2NRlNDlXLv7w47h93nye7q6lrR19eXC6GpmZmZX4OQ6+zsHNXQ0JDM5/MvL1q0aC8Ggyny5YN622no3O768MMPRW63e0FhYeFUi8VCmTZt2v6amprknp6eBJVKJfaJ7NTUVIgm8Y0vD+/a2lq2y+USFRcXh6lUqiCdTucP34FNOeRK8ng8U2BgYL9EIumQyWS1ERERUGXZfpNRDHP16tUQjUYTptFoOBwOpyMtLQ0KthnOnTs3SqPRRPf390PoLBnuSaFQrHw+v10gEDTNnj27FowlXoMXPJsvosInkt2wmQsICBDAGOzt7Q0dGBgIgPf0Fu/zFJWCM4jFYnFncHAw9IkuqVTqOffdy2toqKSnreGYJYfDEVBcXBypUqng3QUmkwnv5+dnZzKZ+vDw8Kr09PRWqVQ6cOLECUh1CMDhcFaBQFCTlpYG9QSs3k3sjTHu5+dHqKqqYg0MDERA1eu+vr5gMJqAoMHj8TY+nw/nlTfHxcW1mEymXjBCDJkjPHtQGHeFhYUitVod0tnZGR4UFNQ8atSojsjISOX58+dHtbW1Qb8MczqdnnFIIpFM0dHR9ZCOk5qa2g7XUCgU1N7e3oCampq4/v5+iVKpDPAaxvRCobA3Ojq6MioqqpfD4YDXF5gPnfd8hQ+dSqWS0dTUxAfh2d3dLYIjgoxGIwmEB41GM/B4PEVQUFDDqFGjusPDw+G0AN91fEuFG86CNxqNEWDwMRgMjLCwsBaxWNyv0Wicvb29cW1tbVKlUhkI/Q1qEoDgio6ObuHz+Q2hoaFdIpHIl8biMWCcPXtWqtFoIuVyuezChQtTBgcHo4hEIgiDw4mJiVVQrIzP59ckJSV1g1f7P3nxfaLxqaeemmc0Gpf09vbKoFL52LFji1paWoB3nNlsxk+dOnVLdHT0Re/8fsul8K9//euczs7O2bW1tRPj4uIOc7lcfX19/XgYWxQKpezdd999n0ajNUulUqgu7ptvPWuFVqtllZWVSaD4WldXF99gMFDtdjsBksBZLJZKJBJ1Qjtzudx+7znIN8Sbb/6+du0aE2qgDA4OBoBYTUpKqqVQKOb6+nqWUqmMa29vh3Zk22w2CF+3+/v7K8VicSuXy23Iysoa8I5tuO6/zGk+oQUFJU0mEwvYyOVyoUaj4Q4MDNBgfWUymTCuBwIDA1sSExNbQ0NDfdFmvjGNKS0tZWs0moimpqao6urq9Lq6uilEIhGMRHU5OTlHKRSKiUKhyLOyshr0er0WjIu+e5eUlFBJJBK3vr5+VH9/f7BCofDX6/UU6DcQNSAWi3t4PF5rUlJSu0gkAr4w7oeOT888cPHiRThWNFShULCYTGbj2LFje6HzFRYWRnV0dEh7e3t5MLfg8XgXlUo1i8XiNrFY3ALHYg05CeXmOcUzfsHANWbMGFZVVRW0Y3hfX5/QaDRSgTdcj8PhKENCQsBo2iqRSGD9gTx/D+//phbKUJHd1dUVA4XPZDLZ4ZtEtufZgIVCoaC0t7eHd3R0hMCYlsvlXEhlIBKJYMDRCQSCLnhfBoPRmpKS4jGADnm+G+O6pqaGwOFwmBUVFRFwckd/f3+gyWSi2e12mE8cQqFQDv01IyOjBY5hFYlEcK2b93euc+fOBTscjnCY0ykUSl9mZmYrnCpz9epVmJNh/Antdju0MRhT4Bl7RSIRsKuz2WwGlL8/nF05+u5IE0Aie6SJouvdNoGbRbZUKm3E4/Hvb9++HY6WuFXfhMVm6L9hXnrppWmQc9TY2JgEnuzExMRTfn5+O9atWwfnS98Qhe3t7QTY4B85ciQWcpaNRiOcexoIlWLhnGgcDgffdTocDjiDu4vNZjdkZmaWslis5lmzZqmHbO5vvOO+ffs4ZrM5FDYDarVaptfrBTgcDvLFQXjhIO/VU8ENg4HjyXRUKrXZ39+/Ij09/eq4ceMU3oXFc72hIhs82ePGjTtOp9MhHHhYhc9AZKvV6vjPP/98udeTrR09evT/IrLh8f6lPaqqqigGgyFo3759o73VcUNAG0Hxa2/VcgIcveZ2u81kMrmdw+FUp6WllZFIpPaFCxfqwfMnl8vHV1ZWZra2tqbCOdBOpxPObbYzGIx2HA6nJ5FIigkTJhyXSqWvNzwbAAAgAElEQVQVubm5nfAMW7ZskUAl+p6enmSDwSC22Wxcp9MJZ8zCwo0DoQ05xlgs1sJgMAbodHo9l8ste/HFF69yOBzPhqCmpoZ05MiRmd3d3ZmwiffmJ5MJBAKcPw331mKxWFVmZuY/p02bVhMREQFt73fp0iXO9evXQysrK1PBA26z2aBCsKfKMFS/h7YG4wkOhxugUCjNISEhJbm5uXVZWVlQJd0nCG+7MrtPZHd0dEC4+ES1Ws3JzMz8AkRde3u78NKlSwv8/f070tPTjxIIhO9WrlwJBqGf+uBfe+21GKVS+czg4GA4DodTLFy4cOfp06fBswGbe1F8fPymRx999ODYsWNBZMM4gGgB3OnTp6MaGxvj+/r6Eu12O5y5zsRisUTIIYXaCPAD9QmhCj1sfFksVgWHwyl+4403QBiDxwne1/POmzZtylKr1RPq6uqiRSJRaWJiYl1rayujo6MjwWQyyX4YAiw/Pz8oxgbXhWPmBmg0WlNkZGQxnAmelZXVGxsbC6LTt+H0CI9t27ZBRIKssbHxLqPRKLXZbIE4HI4M7QHPB/mzYOyCUwqoVKqGwWA0czicyoyMjKt33XWXBrwpN9caOHXqFL+qqiqyubl5tFarDXc6nXC8Hg2ey1uG30mhUDo4HE5DQkJCbWVlZZbFYgkCI5FEItm7ZMmS6qCgIOMQkY1Rq9XUTz/9dFRfX1+qwWCIAp4Oh4PhrRjvyeO12+1wNGEfg8FoioqKKoM5aMmSJfKhhhOYSw4dOpRcXl6eVVFRMRmEnVQqbe7s7HS2tbWlWK3WcDwezwERAGfdw+9isVgQzKVTp069CMau7777DgT+WIPBEO10OgOgcKTT6cTh8Xg7Ho/XEonE+qCgoKtLliwpjYyMhAJcvnPjPewhVcdsNgccP348AYSZwWCIcLvdYHwB7jCXgkcK5lIzhULp5PF49ePHjy/HYrGt8+bNg+sNNS6SSSTSpIaGhtFyuTwkJSUln0qlDra1tbG6u7tTXC5XELCH9wDvPFyXQqEoGQxGLZzvnpOTUzxx4kQwBnj6w8aNGyf29PRkNzY2gvgNdTqdbDwe72kvIpE44HK5bHFxcV8/9thjUFzRx/aW65ZPZC9btmyu0WiE4/TAk3115syZZ+VyOe/SpUs5Go1GmpGRcYTP5x984YUXin7qYmCYgroIr7/++hKdTjdZr9cHjho1ah+VSrXW1NTcPzAwACK7dMOGDR/cLLJPnToFAlh85cqV5MHBwWibzRaCxWKpMO9B//EWQ7Ti8XgNhUJp5fP5VRkZGdVw6kZOTg5EEPlErN+nn34Kom5mQ0NDjNPptOfm5p4dGBigtLS0SPr6+pL8/PygT4LR2ROtgsFgTAQCoV8oFEJByLJVq1bBkZI3jCU+gzh4Z81mc1BxcXFUf39/LBg6HA4HzM8eYxeIIJgncTgcHMHVR6FQmtLT00tAsM2YMQPmLo9Y27p1a6hKpZpRX18PfUtmtVohwstFIpEGGQwGtKHZ39+/8oUXXjhIp9P7oH4GzBsHDx6UFBcXR/f29sZbLBapy+XyB5urd16GJgEvvIFAIHTRaLTG9PT0UqlU2jVx4kQw4A41oPutXr16itVqzRkYGBCFhIRcEYlEHbW1tRIQdTabTYjBYMjQL7zzIByrKGcwGI1RUVGlNBrt+rJly8B44DOQ3UizOnPmDFOlUgVfunQpVa1WQ/E7WDepsPeAdRMK9LlcLjg+EuapLqFQWJmZmVntdrv7pk+f7mtHD/v/FFHg64NDcrJndHZ2xqakpJz6KZENhu/Tp09DH4hvamq6y2w2iyFwBI/Hw/FyMO057HY7tJ+GSqV2xMbGFgcEBFx/9NFHwZnhMQD4DJb5+fn8ioqK8Obm5iSdThdhtVqDYH3HYrGeOdlut8McYSSRSP2w5kZGRpbKZLKGuXPnwrV8hlRPm23YsCHFaDROBqMNl8ttSk1NrWhubmZ2dnZGwR4Oh8PRoI1h/vr/mq54NYz10NDQMg6HU/L888+3whC57Y0p+iIiMIIEkMgeQZjoUsMj4BPZBw4cuNdgMEgiIiIgXPy9rVu3XryFyPZt2D1/FhQUQLic/4EDB2YNDAw80tnZGcLj8aomT558kEgkHnzqqadg4fZtyDH79u1j63S61PLy8slKpTLDbDb7Q1iw0+nUk8lkPczODoeDZjQa2UQiEctkMmFTf4nL5Z5MTk6uzcnJ8Xk0PQsKhGYWFhbCZmJKU1NTNuTJQngxkUiETaTN7XbDRhPO+wYhxrJarRwajablcDjX09PTdyQkJJRNmDBB7rPC+8LFwZPtE9kUCuWb119//dpwyELhs4GBgfjt27c/p9PpYt1utz4jI+OvEC4eGhqquN3F2XfPm0OPgemuXbuCzWbz+AsXLsxUq9WjXC6Xx4iAx+MN4DlzOBx0m80G3hAuhKByOJym5OTkfDqdfiInJ6e9rKwMQsCmlpSUTGppacmEsHHw8nnP7VY7nU4rgUCQT58+/Rso2IbD4TopFAr1+PHjEwYGBqZ0dXWNtlqt0F4ml8s1CPeAXYrL5SKaTCYIFWUBd39//x4Oh3Nh8eLF25lMpjwlJcVYWlpK/Oabbx7o6emZ2N3dneByuaB9PALDz89PDZscPz+/gezs7G0LFy4si4uLG4DQuf379ydBbnR9ff0kqG4P4b1EIhHu7cmHtlqtNLfbzcJisWTwxIrF4rNxcXFnpFJpUWBgoHmIV/K2QtiAOxQ+GxwcBJGdCwairKysL9LT0+vg/NhDhw79CQoCikSiAqFQ+OkPm3cwRHjSG3xtB21dVVXlv3fv3tHV1dWraDSancvllixatGjXzp07H1YqlTNg03eTyIaxRVapVJzCwkKoRp4N1eqhgB5sjAgEgsHhcMA7QPV58PZyXS4XEzxVgYGBzXw+/8DixYsPkslkFYRS+6IAXn311buVSuUDVVVVY4VCYXF0dHSjRqMBzzMfwoIh1ByaEIICwIPscDgoNBptMDIy8npgYODuyZMnF40ZMwa8oR7h+O233/pJJBLauXPnkgcGBqa3trZmwNh1OBwWEIpw1DsIPhjLDoeD6XA4IGSeyWQyVQEBAeVpaWk7Y2JiwAgCRhTfJhHrbesx7e3tE1tbW6eBl8nhcID4VMOZ4rChdzqddBKJRGWxWANhYWHVtbW1aRaLhUMgEAZkMtna11577bLXS+oxCoIorampiSoqKpqqUCimQ/+BkHkMBqPF4XAmCOnGYDAQSh+AxWIJME+Eh4cXs9nsE6NGjbq2cOHCG2c7Q1/bs2fPhKtXr84vLCx8ODY29qxUKu0AL2dTU5MEcu2pVKoFogycTieMKx6EB4OhKycn5ySRSGxpaGgYpVQqp6hUKhAhDjgWDkSbw+Fgw9FuBAJBLxKJjt59990HuFzu9TFjxoCBymewxH7xxReBWq12dHl5+SSlUploMpnA+KLHYDDgGYZ5EqJ4wGvFoVKpWC6X2x4XF3eBwWCcTEhIaPaG1XrEx/vvv0+1WCyLq6qqZnd2diYmJSWdYjAYNphPW1pagsFYBwYwCCG3Wq2Qaw3PyOByuT1CobAoOzt7T2xsbHt8fLynsveaNWvgOlNra2uTiEQih0gkgiACI5je6XQagXtSUtLWFStWnJfJZLCp/7efm0U2eJHhqMgHHnjgKAiPnTt3zlYqleNlMtl1JpP55QMPPHDip8KqoeAZnPn82muvPWez2dJ5PF5PRETENxAm39TU9CxEVFGp1JtFNu7KlSuUkpKSaLVaPb66unrC4OCgCOY+AoEwCFzgfG2r1Upwu91MHA4H/dIaGBhYFhkZmS8Sic7n5uaqIUTbJ4xfeeUVmdPpfPL69euZcJ3x48fnGY1GnlwuD+7o6Aj0ClErmUz2M5lMbLvdzgQhKJFIrgsEgpNPPfXU13a7XQfpDD7xDtEIjY2NLDDctLa2ZisUinStVgttBQYsMIBYQGTD0ZtOpxPC6/FUKlUVFxd3kc/nnxk7dmz56NGjIbIE+/bbb0fqdLr7INJGq9WGEAgEuvegEYt3rrey2eyiN954Y9cPR1P12u12u9Vq9S8tLZ3Q3t6e1dvbC0ZbAkS/EAgEHRhVwMDhdDqpbrebTSAQIORZHh0dfSo4OPjyvHnzaobygT65ZMmSRw0GAxg+IiUSSUFQUFAPhForlUo2nHxCJpM9XnCXywUeaGCGZzKZCplMVh4UFLTvoYceqvKK/xtGfkhxOnPmjGxgYGBMRUXFVJ1OFwrj0u1298MaAv0bohKsVivwptFoNKdAICiJiYnJl0qlF5OTk3WhoaG++R3m31tWsB/aoX1HeEG4eEdHB3iyT4WHhx9euXIlhIt7NAC0X3d3d1BlZeX4vr6+6Q0NDbE2m40Ix35SqVQtHo+3QJFMb2oEE1Ja4F35fP7hzMzMK0qlUgMpWXAdCO2uqKjI6OjoGN/d3Q3V85lWqxWeF65jg1NM4Nog4AkEAgHmqoiIiIsCgeBcQkLCBYlEYomNjfVF+TlXr14N6+1D1dXVmVwuF6IQKpVKpaS7uztwcHCQSqFQtHBCBlzT6XTywNhPJpNNISEhDQKB4Ot58+blp6SkqIa77/lP8wL6d0TgdgggkX07lNB3fhYCILJdLhfkZN9nNptDoqKiakFkf/rppxdv4Qm4IbLBKw2hXBUVFTmFhYXT4CxNELXBwcGnli5d+hWFQgELMCzantDP5uZmxrFjx6LKy8uX9vT0pNpsNqZUKq0LCgoqAKu/xWLpJ5PJMEkL9Hp9Yl1d3WiNRiO2WCy2xMTEL2fPnn1y6tSpYFH2LJpr1671y87Ojvz++++n1NfXPwAbHA6H05aQkHCJRCJd94o1sDbDed9ijUYTf/36dRBKIgiRzcrK2geb2Keeeqrk5xDZsPH9/PPPnzUYDHD+szE9Pf2dZcuWXQgJCQGRfVuLM7zn0HBx3yLV399P//DDD1Pb2tr+pNPppCQSSZeUlJRPJBIriERiDwaDseHxeBp4d3Q6XUZtbW06RAt48+U/XrZsWaFcLtdZrdbg+vp6aXt7e3x1dTWcDQ4hrtbU1NR/isXiRvC4Qsi+SCTqr62tdVMolIS9e/cu7O7uzrXb7WSxWFwQFxd3FYvF1oLnGoQykUikarXayK6urrva2tpyDAYDhU6n195///1f4nC4iw8//HAXbOQOHDgA4WeRCoUi9urVq7NtNpsAUg2ioqL2h4aGNoNgkMlkjbGxsQMVFRVOHo8X+vnnny/o6uqabzKZeDwer0Umk11jsViFRCJRBaKTRCIx5HJ5Ynd3d3pHR0canE0eGBhYMH/+/J1sNrtt3Lhx4DEZlicbRLZarfaIbPBk5+bmfgHV9+vq6iznz59/1el0iolEYuvYsWPfW7BgQe1NIaaeMOlLly5Fnj59euLFixefkUgkNSD8MzMzD//9739/Vq/XQzGnwPj4+L9DTjaEi0O7f/fddyK73Z7+z3/+cxF47SFUMDIy8rRIJKpwuVydYFTB4XCwCYPnS6yvrx8NXjA8Ho8VCoUnFi5cuJdAIJROnz4dhI9H9IPIVqlU99fV1Y0hkUhmOp0OPCBssEwqlVYSCIQ2SK3QarV8lUqV1tjYmA7RCuAVjY+P356bm3ts7ty55b4xmJ+fD0aVhAMHDkxvbGxcANEjXC63Pjk5+SIej4fccthgQ7+BfN8wGBP19fVZJpMpENosMzPzK4FAcHrZsmU1vnkCUhH8/f2Fa9aseUihUEyzWCwCsVhcC1EJAoGg0GazacBwRqFQhOXl5VOUSmWsVqvlYDAYEDfwThA+/s7jjz9eEB0d7SmwBd7d77//Pvjs2bNLOjs74Tx4SXBwcItAICiAPmQ0Ggcg3xEEgNlsjqmurh4L/RI8M6GhoYenTZsGHrvi6dOnezxj4JUBkV1QUDC3sLDwfggNZrFYIHCxYrG4WCAQVJJIpCaIOFAqlREqlWpcU1NTssvlAiEgJ5PJg8AUi8U6hUJhPo/Ha4PxY7fbRU1NTWk9PT1pEGorFoshv/g4Dofbu2LFCjBuwMfV3d3t/9VXXyVVVFQ8Dp49MG6FhYXVcrncIjabXQcGKhj/NptNrNVqE2tqasBjzod5D8Tt7Nmzz06YMKHZt8EHkY3BYB6sqKiYCZ54KpWqJpFIcBa8MSIiotDf378Gj8d3gjfNbDaHyeXy5MrKymwwpEEtgtmzZ+8WCoUXZ82aBaG6kJcvhDBcpVI5qqSkZCqkIoDBJSws7GBsbGy5zWYzRkZGQki+3DtePC/2n1KUvJ5sCBcPFwgEVxYvXnwAjkV8//3371ar1XdDeHxgYOCeNWvW7L98+bIGcmmHrmNnzpyBsNvkTz755PEfaoaIs7Ozz4hEojwowNjV1fWyWq3mUyiUknXr1t3IyQbvsNFoTDx16tTUxsbGuTabjQPG37CwsLKgoCDwmvZCtAAWi2UpFIpRCoXirtbW1iToCwwGo2XatGl7IiIiiidNmgTGBI+3dvXq1VI/P7+ltbW147RabTCdTgfeNiaT2R0VFVUA4xCHww1isVgIT09sbm5Ob2lpyYB1g8fjXXnhhRd2mM3m6qlTp3r6BHCD6Knm5ubYkydPPqJUKhPMZjNVKpXWCASCMpFIVGU2m5UUCoUA0R4KhSKppaUlTaPRhINBFgTf9OnTj1gsljIQamfPnmWBuAZPZV1dXUZjY+NMyIsGY09aWtoBOOkCPMcTJ05sVKlUxv7+fjAqp+/fvx+OAh0FYd0SiaREJBKVBwcH1+l0OohMgnQiYU9Pz+iurq5EOP6TSqXKw8LCDj355JNHICLIG9Hi6ePPP//8Yq1Wu7C1tTUGxjWNRgMjvEUkEpVIJJIqOLMbh8NBnQCxXq9PhTUODBVggExJSdl8zz33nE1NTW0Z4izAlZaWBu/atQsqfN8LR3Sy2WwlpJxwOJwCCoXSA+0I65dGo4mBaJempqYUmL+ZTGbtvHnz9kRGRtaMHj0aPOSePc3tisabRXZqaiqck314xYoVx33P99lnn9EsFsv0ioqKGV1dXZlkMtkQFBRUFRMTU4TD4WAtBsMqGATCr1+/PkEul0M0DlEmk52cPHnyYbvdfvGxxx6zwLGYRqMxesuWLffL5fJMcGQIhcJaWDciIiKKTCaTZ04Eo3pvb296e3t7Sk9PTzyMneDg4Iv33nvvPrfbfX3mzJm+aBfXunXrJqjV6geKiorGk0gkHBzBB9EsHA6nRiqVlkHUB/QJs9kMYj4Z9m6QjgNRL1FRUV/fd999B3A4XPmECRM8NWHQBxH4JQkgkf1L0kb3+hcCUPgMj8fPOHDgABQ+Cw8ODu4MDAw8IBQKYVPlBz9wjrOvsAss+rBRgLxIsI7qdDq+0WhMgbA0k8nE5fP51cHBwUcfeeSRIxAW6LW0Qzirc+fOnTEtLS25ZWVli8FzSaPR2qRS6YGQkBDYSHaHhoYa4MzTyspKRk9PTxAcCyaXy8eBcAgODi4Ui8XHX3jhhX/6LN6lpaXYoqKiadeuXZtVV1c3TSAQQI7g+aysrMOQ0y2RSMxQhEOn02FbW1tZkH9ZX18/t6mpybOxiYuLAw/5P/76178e94V+gScbg8Es9BU+g3Dx/9aTDYJix44dIIITYUESCASnQADABhMWZ/DCQvgsiUSCzbZnHoAQLqvV6hFE4MXA4XAOKpWqnDx5cmFkZORgXFycp2hSZWWl6Ouvv55w7dq1FeAZZbFYJWlpabvA2p+QkKBjs9kuYFlYWMjt7u4OLy8vByPKKPAmpaSkfD5t2rSL6enpHX19fVC0xL+oqCjyzJkzzw0ODoKwMEycOHHjxIkTy4hEIuRpmaHozJYtWwL0ev28y5cvTx8YGAgPCQkBA8mx0aNHX4qJiVEKBAIHFEZyOByEyspKblVVVVJfX98CKABHJBJNWVlZeQQC4R+rVq2qgY1FTU0NDXJse3p6Yr/88sun7HZ7KJPJ7ImLi9s0b968Ksjfgx8oorJt2zbm4ODgzJKSktn9/f3JAQEBbYGBgefi4uLyExMT24VCIXjTwasBud6QK57U398/V6VSSTEYzCBUu2ez2aeXLl3a6BMqt7NB8nmyQWT39fVNBE/2hAkTvhwzZsyZhoYGMDy82NfXN9poNDonTZr0cUZGxhVvWL0vesNzu61bt46DjWpZWdlcqVR6YvLkyUeTkpIq3nrrreU6nQ6K7PFjY2M3LVmyxFf4jPD2229DmN/C8vLybPAuR0dHXxOLxcdSUlIapFKplk6nOw0GAw68czU1NUFVVVVQmG2WXC6PDgwMrEhLSztIoVAOPPfcc74iUO7XX399gVKpXNTY2AgbdjeNRusUCoUXRCJRIeSwCwQCCHV11dbW0puamoQtLS1zIaWgp6dnVFxc3MGYmJgDq1atOuTbGG7cuBEKks2tqamZ0d7ePjY4OLiez+efy87OPikUCgeio6MtarUaPNm4kpIS/9raWshVntvd3Q1RLOzExMRz/v7+e9euXZs/JKQdQpMnXbhwYYFWqx3FYrEgp/hYfHz8lbS0NMhLNff39+MsFgszLy8vCQw5arV6BuSgesNYW8PDw99dsWJFga+K9Z49e6BWw+iCgoIlFotFjMViIe/6YFhYWPHYsWNBbIMx0K+trQ0KRfHKy8vHgAeora0tMzAwsCk8PPz06NGj/zFmzBjwSIL32+PJLisrm33t2rX7IV+VxWJ1hIWFgSHgQkRERH1kZOQAbEiLioqCOjs744uLixcbjcYoMETSaDQNk8msFAgEF8PCwiri4uKU0M9bWlog3zepo6Mjp6GhYRqLxdKIxWIIRf942rRpfd5QfffmzZuTm5qaJl+/fv0+AoHgYDKZdREREYckEkljWlqaPDg42GS1WollZWWs9vZ2QWNj4zSFQjFOpVLFhISEnBYKhYcffPDBw97ruUBkW63WB+vq6mZ2dHSkw/swmcwasVh8JTQ0tCAqKqojMTFxUKfT+TU2NvpXVlZGtbS0LJDL5SkOh4OcnJycx2Qyv1mzZk0h7N8hHQSiCgwGQ/iWLVuWqFSq0WD4Cw8P3/T000+fA6MjmUw2R0REgHfe54295bFbN3myl/T09HhE9v333/8dCLlt27bN1Gg0iyAiRCQSff/www9/ExQUVO+bL32L3qZNmyROp3P2+fPnZ0Php8WLF38ukUhqv/32W1lXV9dqvV7Pg8Jna9eufc/tdjenpKQYzpw5Qz9//vzC5ubmaV1dXalg3OPxeJdlMtlZ8MLHxMRAaL/DYDCQIIKpoaEhWqVSTZfL5QlQkyA2NvYcrKlr1qy57MsVXr16NRxB9jikOIAhmUgkQuX1q6GhoVeTkpIgNUMdGRlpNhgMmCtXrgggFaq/v39eX19fJI1G687Ozj6MwWAOrVy5ssPHZv369ckQFVNdXT0NjF1MJrNVIBAci4yMrB4zZkyPv7+/CQxw9fX1dBCbnZ2d2Wq1Oru3tzchMDCwBs4az8nJ+TolJUUDXs/BwUEoyCeFKuwlJSXL2Gy2mcvlXnrhhRc+slqtZiqVaoyPjzcqFArCxo0bU1Qq1b0QyQLh6EKh8DqHwzkpk8nqxo4d2w8pWeBFVigUTKhYDp52lUoFkWcCPp9flpSUdFIqlZ5ctGgRGA3AMOL605/+tFitVt/X1tYWA55WFosF73NeLBaXx8bGtsXHx2ugWGpFRQW7p6dHXFlZuVClUo3RarWC5OTkvXfdddfhpUuX3ojI27ZtG0Wn000sLy+f1dPTk8PhcPo4HM7l6OjoMwkJCR3QjmDoMJvNhHPnzvGbm5ujOjs7p0FEGoRXp6WlHePxeCeXL1/+k6H6/25rOVRk+8LFfSLbu57TysrKxOfOnVs6MDAwGuay0NBQ8ChfSU1NLYe5BKK8oCZCd3c359KlS+Chhgi0cVwut1kikeSlpKTsnDBhgn7Pnj2hBoNhfk1NTY7FYuEHBAR0+fv7n4SonJkzZ3YyGAxPYTgocnn+/HlJW1tbukqlgoiaaBqN1u/tr9+8+OKLIJxhbLrfeustOFnj/mvXrsFaBMZ6ZVBQ0AU+n184atSo60KhUB0UFGSHIpAdHR2C0tLSGQqFYhJEHkRERFxISUmByMb9y5cvv1GUDm3FEYFfigAS2b8UaXSfHxGAzSd4sg8ePAieAJhktVAkh81me3JLIUQMNoWQpzT0Axs42ORCaKVWq4WcLweccRwfH39KLBbnP/PMM2VDcmDhqC/s0aNHp8rl8ntramomwEYlKioqLzU19YuoqKj+mzdDcO/du3enlJaWTq+rq1sMHhU6nX7hzTfffJ/JZA4KBAJrc3Mz/rvvvptfX1+f29zcHB8XF3dFKBTmvfHGG3m+Fx1acXPr1q0sCoUy/dixY/d0dXWNDQkJaWIymdu3bNnytbcKtXuIyIZwcf7/IrIh53zXrl3LtVptEoTKgZcWvJEQsufN/fKIbMhXBZENnMGg4c2jhr/HQCgilUqtyc3N/eShhx7qgNw8eLeCgoJRhw4dmnbhwoUX+Hx+T1BQUN68efP+HhAQoB9aZAQ8jqWlpeS9e/eC5R5EGx02xFlZWaVjx45t8xVgOnr0aFheXt6rcISX3W7XZmdnv+07wsu3idu0aZNIpVLdd/369VQILZ4yZcpZHo8HwrX6p4bWhx9+GIHFYufn5eXNhfDE2NjYMgwG8/cPPvjgRn47eJBg07F9+/aXHA5HBAiV4ODgdS+++GJZWFiYBZ4fDAHffPNNSH19/Z96enrG6HQ62NQfkEgkx1566SUI47+5kjYWNtN2u3023NtsNovS09PLORzOjsWLF18ODQ2FjcNteSF8OdlwhBeIbJVKFQCe7KSkpBONjY1tTqfz4ZKSkhlyuVycm5sLx3gdW7p0KfR9X34hBjaX27ZtW6BSqeZ0dXXFicXiXStXrjwiEonUzzzzzPNarRbO/gWR/eEjjzxycPTo0Y0gnLds2VZPu38AACAASURBVJICod1QWAs21vfee+8Rp9NZsGjRIsgv91x/qKFgw4YNsGm+v6CgYAqbzVaMGjUqD4vFbn3nnXcg5xWGr2vVqlUeT3ZjYyNUezax2eySBQsWfBYeHl53c0VmePePPvpoQUVFxYLS0tJZ0dHRYOj6/sMPP9wK7Q1t8+WXX1Jqa2vvgxBRyOVNSEi4KJFIzqxcuRIExY8+n3zyCYS1z83PzwexnxgREXGdTCZv27x580G4H4Q6Hjp0KFqn0z3d3Nw8BvJck5KSzrDZ7P2QNgCVyYe+c1tbG3vHjh1gBHgCTjYALyp4hcPCwv62dOlS8FLr4DnfeeedDJ1Odze8B4VCMYaEhFyKjY3dMW/evGYQpDc/aF5enuzSpUsTLl26tIxEIlE4HE7VrFmzNsbHxzfFx8dDUTn3rl27cioqKuaUl5ffD8XW/P39i5YuXbrNYrFUL1iwANrI8wEv+smTJ4O+/PLLVzQazXi9Xu/P5XLbAgICDvzg0fwCipENzVc8c+aMtKKiIuvMmTN/wmKxJCaTWZqamvreihUrYLzaIIJo69at88GA1dLSMlogEFSA4SYrK+vrmTNngjf9R96i3bt3j4fCho2NjfczGAwFg8E48uqrr34M0SLAFES2yWR6oK6ublZXV1c6g8GA4kqHn3jiiS8gtD01NfVfGL333nuQcz/v4sWL88CTHhYWVkMikbZs27YNDJaevtnQ0ACh6mFr164F4914HA5nCwwMfOuLL744DiL7pnQkzz7oVhE+PyGypcHBwQV33333fiqVermwsDCzv7//voqKivESieTSrFmz9vv5+Z17+OGHPcYTbzvgVq1aFfNDMbtlnZ2dCU6ns2vFihXrxWKxdtOmTSkgsmE9o1KpxW+++eZ7UF0c5uuSkhL+gQMHXujv788aHBxkJSQkHAwPDz/28ssvX/qpuefLL78EY+SMc+fOze3r60sJCAiQBwUF7XjxxRf3R0dHQ99xrlq1KgJEdnl5+fjBwUEBi8WSR0RE7HriiSdOxcbGdt1sAFy/fj0IvXvz8/OnwVoRGxt71c/Pb8sHH3xQ62VD+yEPfbpSqXy4q6tLxuVyW6C4lkQiOfDwww/3+vL5h1bb//LLL1Oqq6unX7169UEymYyBuhnz5s3bBLUF0tPToU+6ysvLQ3fv3j21uLj4JTabDfPFmY8++uitgIAAyFl2wNiqqakJ/OSTT6a1t7c/DYYz8HZPmTLlO6fTef6ZZ57xpEb51mHvsxLWrVs3rqenZ05VVdUUJpMJxRAL09LStowdOxbyjE1w7yeffPJhmM86Oztj2Gy2HIwqixYt2g7FS+Pi4m6kbvj6xqpVqx5ra2ub29rampmQkHAyIiLiu1dffXW/b14pKiri1tbWLuvq6oJ5XAQnoIhEokOvv/76WW+kz7+Ef8Nc5XQ6IfoIjH0JENnF4/G+WLlyJRxBB+Phto/cGiKyZ8L7pKamnoIigM8//zyMF7+8vLxg8JofOnToGbvdHgxe9aysrB133XXXtalTp0Lk1798vv/++1HV1dXZBQUFi6CgIJPJhO99lp2dbdq4cWNie3v7CxqNJoRIJKrB4MlkMo89++yz9dD3fOPO2y5YqFExODg4/cKFC/e4XC5eQEAAGBzeW7JkSZFIJIJ+4P7LX/4CKRL3Qyg7RAZCnYrs7OxPMjMzIeXnR+lvb7755oyenp67KyoqZoPhLzQ09OgP+fkfbdy4EdLA0AcR+EUJIJH9i+JGNxtKwCeyDx8+PB+K50DoKHjNQPB5iyr5NihwLBPkf3oq60KxEbDe0+l0E5lMHuDxeDWRkZFFLBargM1m986ePduzKfMtgJAb9txzzz2i0Wge1uv1ASEhIcdnzpy5n81mF0yZMgUW1aFVQD33LCwsZO7du3ecXC5fAYKXTCbXvPjii38nkUj1sAmADfWZM2fCoZo4hLcGBQW1godz/Pjx3T91vVOnTtEIBELq559//lBnZ+fMoKCgDiqVunnPnj1f+c43HimRXVlZGQg5tNu3b38RQt9BZEPBEqgQ6nK5IA3Kk3/qzRkHYe1hBXx94gnCDUkkkp5Op0PI7zv33HNPK4/H83jBL168GHPo0KHpV65ceQE2xEFBQYWPPvroHhaLVZuamvovxbdgI3T06FEB5FIODAxgo6Ki1DwezxAbGwsLnhuqzubl5YUfOXLkZTAI2O12Q05OztuzZ88uSkxMhGrkniJcpaWlNIVCIQNBCUerREZG1gcEBHQmJCT4wlj/ZXAdOXJE6HA4xm/btu1Rs9kskUqlEOr//q5du24UJSorK+NBWO7WrVtfsNls4XQ6vTssLOyd9evXl2IwGM+CfO3ataBr167ddfjw4efhnGkoqDJmzJiPcnJyyseOHav8qba+fPkyw263h3/88cdP63S6HKiGLBaLN73yyivHwOp+O15sb//1HOGlUChW9Pb2ToLq7ZB/mpSUdFyv1zfSaLTsb7/99j4o4JaUlHSFy+Xu/UHQnfQJDRCNkZGRzCeffPIJk8k0A3IR6XT6Zx988MEpAoFAfPbZZ2EzNBuOMgORDZ7sjIyMJgiHvnjxIl+r1UIFdgHkfmZkZFzX6XRKb27uj0Le9+zZk9zZ2Tnr5MmTD/j7++tiYmJg8/jJhg0bYJPt+fzlL3+Zr1AoFtXU1IwLCAiACtKnBALB5tWrV0PYuCeFYSibr7/+OiM/P39uRUXFExDdwuVyD2zduvUj3wYNDAiNjY1Q+TvUbDZz+Hw+FOtqz8jI+MkK+sePH2diMJgxu3bteqinp2cCREOQyeTNO3fu/A7uDZ7c7du3j25oaHhNr9cHEwiE1sWLF3/m7+8PY6AXwtPheDLv63hSV7Zt2yazWCxTjx07dp/VauWDyI6IiNjw+OOPF0ZEREBoJPn555+fq1arn4aoDijgNmfOnK8pFMq5hQsXQqXmH8091dXVxK1bt0Kth5fB+wue77vvvntbSEjI1YkTJ0JFdr9t27ZlQ2RCaWnpYhABAQEBJ998880NLS0t+hkzZtyotgzhxp2dnayCgoIXe3p6pkAlY2+46PcrV66ETfa/GEuam5sDDx06lHrixImX8Xh8AHipc3Nz/3b33Xc3KBQKK5VK9V+zZs2TarV6vk6nY8lksm/mz59/QCAQlN+qii8Ys3bs2AFhsi9ZLBYGk8m8/MYbb/zdYrG0ZGRk6N577z2aw+FYVF5ePru9vT0tPDy8OiAg4OtFixbt8x21NLRv/POf/wSDZSrUFOjv7wdh20mj0T7evn37QZ9gKSoqYpDJ5PD169c/q9Vqs4hEokUgELyzefPmE968cZ+w/hH/m1dp3zry1FNPzTEYDJ5wcYhuWrhw4bdEIvEyFMYDwZiXl/ewUCiEOekEhULZvWrVKgh59QzlhoYG+tatW0e3tbWtgtofJBKpaPny5RtCQkJw7777blZra+sqWJtoNNq1d999dwOEwA4MDECebDQYAS0WSwzUOEhKSvp4zpw5l8eMGeMZVzf3n6tXr1IgpHfLli0PdHd33200GpkSieSLV199dQ+RSIQQeRuIbAwGAyI7G/J/k5OTiygUyp5169aBeL4R4u679r59+0L1en3OP/7xj8dwOBw7Li6uGAyWmzZtgrQoKJAoePfdd+d3dHQ8AkYdyLF++OGH/0Emk6EauM9A8i+FuqBOxNdff51aXV39Z0g5wmKxPYsWLfoMIhcmT54MtSX8iouLpfv27ZtaWloK64yZxWKd+fjjj99ubW01QV+DI/bGjRsX9+23385paGh4FOoIsFisE6+++upWf39/ONUCPJceA5+vTaEtz507JyktLc04ffr0035+foEQ4TVp0qQPcnNzq0aNGuWJvFm+fPlD4MlubW2Ng1SR6OjoE2FhYV8/9NBDnnVrKHe45ubNm2eUlJTMr6urWxAeHn6Jz+fv/+CDD76Ea5WUlLCqq6sjvvnmmz/bbLYEWFfT09M/zsrKuuSNPPpRO54/f57MYDCEGzZseEStVs+Ge0gkkp1vvfUWRE+A4fJH8+Wtdpc/IbLzIiMjD/lE9vbt26HA3IzTp0/PJ5PJToiwEQgEn82fP7/NW1PD04d9/Q3OoC8rKwtrb2+fBHnjULhMJpNd9Pf3Z+zevXtcZWXlS7C+sFis8sWLF3/MZDJbvKlSP3pP6Ac1NTWR+/bte0mv16dBbvX48eM/nD9//umUlBTwZvutWrUq12QyLaqrqxtPo9FUEonkAo/H2/b6669DCsSNYzJ9xpR9+/Yll5WVzbx27drTLBar19/f//gPxsq/bd261bOm3+76eyue6O8RgeEQQCJ7OLTQd0eUgC8n+/Dhw/dA3hyDwRik0WitZDIZChGBIATBDRUj4ZgSsNDzdDodFLJx+Pv7d4aGhla63e5yLpfbmJSUBEfzKOBIiaGLKhwnotPpxBs3bnxMLpffB9WnweN3zz33HAVhDF4ci8UCot4NIdJgqYfwdAKBgD9y5EhCQ0PDY93d3WFQFfvxxx/fCY7chQsXwgYHcqwgjwl+yHDUDXil+Hy+TaFQEMHbDgVAIHdYLpdDJUwI27yrrq4uR6VSJfB4vHYymbzlyy+/BJHtWTBHMlzc68mGwmeJsCAHBAQU4PH4HovFAkWhbmwsoQgJ/MAHi8VCiPiNfwNPCgjPSZMm5SUkJKi9Zwz7lZeXC/bv3z/++vXrL3gLNYF3vxy83l6RAUegqUNDQwdhQwHec1/HEQgEcLMbPyCyIT86Ly/vZaPRmORyufRZWVnrQGQnJCRA/pmvmjyutraWBt8HYwHkZSUlJcGi6VIqlXC+MgnOzDQajeS+vj5/77E/oyEk0m630yFn9Ie82fc///xzCCn1fEBky+XymE8++eQFEMXwrlKp9K/vv//+DZF96NChiMbGxuwTJ048gcViIe++YcKECTuSk5NbocCTL9Qe+pCv/0DuGhQD2759+2KFQpFts9nwMpns02efffZQQkJC++0u8mBg2LhxI7upqckjsuEIr+zs7C+Sk5OPc7ncaiwWK9u2bdvi/v7+OSC0QGQ/88wz++Pj40HcOfPz86EQW9TmzZuhiE9aVFQU5Or+Y/369dfkcjlj5cqVz8MGbnBwkBcbG7sRcrK9IhsH51YrlUp6b28vFPaBM5g1arUazm/Ftre3QwVpOIuarNfrqW1tbRwIy+/v7x9XX18/DgoAhYeHnyUSif8isl977bX5/f3991dVVWVLJBKoLn4InmflypWejfjNXE6ePHnX0aNH55SUlDwjFArrQGRv27Ztk2fH9/8Fe3Dt7e30vr4+GhzBx2AwtOnp6eA9tPf19cHYI7lcLjhPGAw0jK6uriDIJYTQdrVaHSUQCOqIROKWPXv2eET2tWvXxAcOHMi5du3aSqgaDwamRx99dF10dHS79zikG8YF34bu2LFjQVarNWnz5s3PQTQEl8uFo8H+9uc//7nw/PnzprS0NN7f/va3e3t6ep4CT2RwcDB4xL4LDAysJRAIHk8nnB0M/ef/2HvvuKbu/m1cEiAQMtgECHtvAQfiYokibtzWOlpXtVrbamvHXeutddaqdeKsoq2ighMBGYrInoKKIIJAAoQkQBIChMDjdb45/FKr1ft++n1+/5DXq6+7dwnh5HPO+Zz39X5fAy9cQ3hlZmZaP3r0aFF1dbU/jJ0mTZp0Xl9fP3Hp0qVwbR905MgRTLKnFhUVLbC0tKwwMzO7sWbNmn0oil8DFdQLFy6wHj58+Gl9fT1o21YBAQGXXF1dr61cufIv3heVlZUmN27c8E9KStrw6s+YMRiMZ0FBQTvHjx//pKOjQymXyx1+/vnnZS0tLRPQtHFxcYmdPn36Xeh5qVSqkrwPcIzYR1V7qU58fDy0tR+JxWILNptduGrVqqPd3d1FkydPbgHI7uzshCEeDMt8fX1973E4nEs//PDDTTUPg36ghCYWwMqBAweWCgSCEIBsOp1+8MSJEwDZhDEUQLampqbj9u3bP5FIJKMQs2Rubv7Tli1b7pA0/vd9mL0+yW5ubraHPj8qKooA2VpaWvoPHz4cee/evXV0Oh1T2dzRo0fvDw0NhQypC9c1GAIJCQkhxcXFqzkcTiWXy02eMGHCOX9/f73vv/8+RAWyjfT09HK2bNmyC5NsOCgLBILh586d+1ihUFhiQmxra7t7/fr10Br/hQGhui+oL1++ZG3ZsmWBUCj8sKWlxcba2vr6tGnTfseza/bs2fLvvvvOoaenByA7CA3L8PDwBBqNdmX9+vXFavdW//0YHx9vJZfLA48dO7ZSU1PTyMvLK/8V2N63e/fuR2jkdXV1uYAtU11dPZfBYEgNDQ2vbtq06Qx8SVSSrb/c2319fVobNmxwE4lEX9bW1oL23zl58uQYQ0PD/ms8MzPTIT4+PhwgW09PT85kMlMOHTr0b319fTR7ERFIQSMcRqEVFRWzjI2Nq/T19a/+9NNPJ83NzSFtIhoGr+8r8BSJjo52z8nJ+UoulztramoKIyIijnp6emahiYXzvXLlyoUwX6uvr/dwcHC4GxAQcI3P5yf++OOPhGTq9df58+fD0tLSwLyZ7eTklGlubn5l7969Z/G++/fvI1rQ7/fff8ceYa+np9c0atSo40FBQYiTayXlcKhBaDRaH4zV4JKtpaXFjI6OnlZXVzcBBq/29vYX1qxZE0uhUJ7BWO9N3+1Nx6YOshHh5efnl+zk5HRt/fr1t/D+LVu2jMSkOC8vbyyeI0OHDk2i0WgXNm7ciHSW/pcaEwFO7ozGxkYum81GpJ7E3t6+USQSOd64cSP04cOHK1gsFpgH95cvX74HE2nErL3p2NBQLCoqMkpISPhGJBKFQAY4ZsyYk4MHD741d+5cgnUGkC2RSOY9fvx4NKIffX19cb1eUKVp/EWffufOHY/U1NSJGRkZ60xMTPimpqYJ+vr6O3fv3v3G58z77gMD7xtYgf9mBQZA9n+zagO/84+sAEB2V1fXxBs3bsBdHI6ttTY2NjdcXFyeQiusVCoxfdWSSqWM2tpaq4aGBjhzusNkzMDAoB60NQsLiyR7e/uKsLAwUvtJFODkAwG5mV1dXR5Hjx7F9GoqaGYmJiZ5NjY2oNXClRJAvr8zDaCJKS7AXXt7u4VAIIAum0uj0Rrmzp17SVNTM2nJkiWgTpKxHJiy0oqKijCpZWJqroqUYMDZFw/Kvr4+Y7lcboGHEIoeaJ7wsABV9fz58+fVQTaZk/1/6y6uAtmY4vhoaGh0jhw58lB4eHgeHF1R1L/tBKLIJwt+rAucahGl5OjoiCwXrBVyNOmnTp3yrK2tXYjJU0dHhzkaH2w2+6W+vn4tzIhAOdPS0uJ1dnY26evrQ0vaCs1WW1ubUuUcikMgaJ3IJE1MTNwAkA1N9tixY7fOnTs3x8HBQR1k4xyBbqaVkJCgW1tbC+08QyqV6tFoNAaMVOBwDTMkuCl3dHRYCYVCp+bmZksKhdINkztMsqOjo/sn2Ziw8Xg8jyNHjqzDJJtOp2OSvX3Dhg0FVlZWRNc7JibGC07Fd+/enQeHXTR3oGXV09NrgbOwGhWRiJ8B6IYBG5VKpVdVVY0UCoUeMpkM2sgTCxcujH+lryzfvHnzO43nVIU94ogAsr9U0cUNx44dG4MCJCoqqgjNhC1btswVCAQLJBIJw8zM7OqKFSsutLe312CaeenSJZOurq7guLi4mZjMIhvbxMQk0c/P77mRkRH7888/XycWiye1tbWZeHp6/vLJJ59c8/X1xSRb3REXRZBeRUUFWy6XA7TjHzhW47rG/7J7eno4ra2tyCZ2FIlEKLxqbG1tU185vR46ePBg/yT7u+++m9bY2DivpKQkyN7ePiMoKOgyhUK5vmLFig71e5a8NpOTk33j4+Mn5+XlreZyuU8MDQ3jT5w4oQ6ySVo8cQ8WFBSw6+rq+q8JmJHhulC5GRti0oxjBEjCRJXD4TzR0tI6dubMmav4m8nJyW5paWnhDx48WK2np9fLZrPvR0ZG/vDBBx+Q2cB/el5ij8H0G3nvW7Zs+bqnp8fTwMCg0dbWdsfGjRuzy8vLOw0MDOwPHz4MbedSOEDDrMfd3T2rt7cX1w/hfq4+TSbplN3d3Qatra0BdXV1cO7vCQ0NjQeAWLt2bRF+4dixY8FFRUVTCwsLFzg4OBRZWVnF79q16/Dr9zWalPHx8UzQv3k83gRkYgcEBJz29fW9+cEHH/wlGhAg+/bt2wDZX/b19YHBU4lJ9rx5856Ulpbi4vb99ddfFzU2NgZhumhqavoQueBwkMZeir+PJh7JjsE9oampSW1pabHH1FkFsssWLFjwW09Pz/2FCxfyAbLlcvkCgOz6+nqf4cOH37S1tb26fv36u6rMdoLBRH63tLQ0uE177du37yOBQBBqZWVVy2AwDh4/fvyaKqapD0wkTLI3b94M88eRAGkcDuenf//733dMTU376b7v8yBTB9lyuXwpTNVgWjdt2rTLurq6GU5OTnC69yooKNjQ2dlpgySESZMm7fXx8SmDDAK/f/LkycBHjx5NLCwsjHJ1db09YsSIm5AgIS957969YS9evPgK0ic6nU6AbGiyKyoqTDs7O0N///33Oa96sCxbW9tHNBpt98GDB9EwfOsejvt31apVMCxczOfz3WEKh3uts7MzcfXq1VI1kI0GIGXGjBmXkPqwZMkSwvRQndKL/3/79m2uTCYbceTIkVUUCsXY09OzQFNT8xeAbGQhw0j0woUL058/fz7F2NiYx2Kx/nilzQXIJhzN33as69evhwHbGkwou7q6aNB6s9lsgH08m9FoIkH2Oj09PUQyEiC7oaGhAxP5S5cuUcVi8YSHDx8CZE90dHTMVU2Qz5N72JskAPjZJ598gpiwb0UiEeRUXZGRkTFOTk6pkydPJiIMly1b9gFANp/P93RycoqPiIiIE4lEmStWrHhjFNTvv/8eikkw/EdcXV0fcrncK7t37yZA9vXr1+2amppGX7lyZUlXVxeXwWC0wPUdHiA9PT1daGyTL/J6xIME8WP19fVIThiMNAIXFxfo/S/D8O5tzYv/FGTju27cuDGstbV18ZMnT/yMjY2fTJw48WpfX1/CihUrsEf111Jv+mz1awUMmPv370/IyMj4AODWyMgoOTg4eO/ixYuJRtPb7rXly5fTe3t7vxYIBPBbsRg+fPhlFxeX+BUrVqThd7755pvg9vb2eZBjwOsgLCzsWk9Pz/XVq1f3x6qqfz5AdkpKSkRqaupnFhYWfC6Xe9vU1HT35s2biabm+za532dvGHjPwAq8awUGQPa7Vmjg5/9rKwCQ/WqABHfxuVKp1MbW1vaxrq7uvmHDhvVrKsVisYaenh5Qi05nZ6dLR0dHMDZQuP4yGAwxTC3c3d2TyK4nebDkwwEFWU9Pz5CzZ8/Oq62tnQCgBi0yjGeg9UYRAIo6qVMGFV0VTURMtUFTRwYjjE8iIyNBr7y2evXqShJkgwaIYykuLoZjqgePx0MBryeVSlltbW36ANpoFOC4DAwMMBTUhMGYsbFxg46OzvGYmJgL/zTIVqOLfyqRSEDDh1Z666pVqx7U1NS8LUv5jedZIBD0wfGV/CFJ1U1JSTHA+UhMTJzW0NAwsrGx0VptQo1CG5ngIkNDQwGMmOAeHRQUVKijo9NsZmaGsR2x9iKRiHHz5k2HhISEL4VC4eDOzk5pWFjY1gULFqiDbKL2wzpVVFQAGNtWVFT4VVVVESBaIpEgdg0RaXAXBSW4F6AfJlqIM0I8G3S/SqXylzeBbGjXkS2so6NTb21tDdOqQhJkg3pWV1cXcefOnSmdnZ1GqusH1yNxTNCxq84fQb9X5Ubj57iOtDGRwHf19vb+bfr06fE5OTkF/w3I5vF4hLt4UFBQjI+Pz+2ZM2fClZ7y1VdfTRKLxQseP348BCZis2bN+qOvr+/hrFmzZNu2bbN+Vax/UFhYOBbRcosXL97r6elZ6u3t3drU1KS/fv16aPYjpVIpQPa+ZcuWkSCbyCktKCjQYLPZZjk5Oe51dXVwneaKxWIjXNtwcpXL5Yhp09XW1oacA/cQIn+YJiYm1c7OzmkaGhpH1OnimzZtmgbjs9LSUoDslHHjxsW2tbXd+fzzz9+olQPIvnLlypTc3NxPbG1tnxgbG8e/NskmQLZAIADDwfzevXsB0BxCny2VSuk4Png3gDILsEej0eAA39vZ2Ymirs/e3v6prq4uocnGdR0XFzc4Pz9/Qk5Ozsd6enrtBgYGaVOmTNk5ffr0ft3y6wAE1EkkBmzfvv2r7u7uwbq6ukIYnwFkv3z5EsWlW3R0NIyrFuJawL7T3d3dA/aIqtjDNQSn9j6sH1gaxAZEoWgAnPb29urAT2HEiBGJenp6lzZt2pSL3zt//nxwZmbmtMzMzA+QIw7n7F27dh19A8imREdHM4uLiz9taGiAkZL16NGjj44ZMwaSGWJyqf56E8geP378zpkzZz7Jy8tDdFngmTNn5jU0NIyCMSL2UlWjAOAMTThiP8X3xDWE+DQYWKqyzxHRRzM1NX00ffr0yxoaGneWLl1ap6KLLygoKJiCzPQRI0ZcxfdZv359ugos/Ymei0m2Uqn0+uWXXzDJDkVzlsVivRFkb9u2DY1GuCV3mJqabv/pp5/+a5C9atWqqaCL8/l8B0hkJk+ejCZRBuLVNm7cCMOnlbW1taOQLT19+vRjtra29yMiIqpx7f3rX/+KamxsnIT8YWdn5xPLly+/4e/vX/3y5Uv9/fv3h9TV1X0FRomOjk7ut99+u0tTU7OqqKjIQiqVRsbHx0/X1tbW9Pb2zunp6Tm0f/9+OOf/Lfj55JNP0Fj78MWLF742NjbZwcHBcRoaGjc++ugjCejifX19MD4L6u7u7sUEGXrnJUuWoMHWXxOSYAQgu729fcTx48dX9vX1mdjb2xe9isLbe/To0dKEhATEzo25ffv21OfPn4+zUfXV8AAAIABJREFUtLR8xmazLx49ehSTc0KW9DZQ8+2339r09fUtLikpCe/s7NTHNc5kMv/46quviMjK/Px8hwsXLmCSvY7BYABkpx47dmwri8VCk0QRGxtLqa2tjSoqKpry5MmTsX5+ful2dnZXv/vuu7i/A9n47I8//pjb09PzJaLG4L0wYcKEWBh4zZ49+xF+d82aNWACgC7u7erqGjt79uwroPK/zaE6Ojo6DGAfZoAwSbS2tr6yZcsWgi5+7tw5l9bW1lD4schkMuSbg+UBZjSMOnGvd8PpH+uken5gL8B9pa3yUEGuNM3V1fX6lClT4vT09B5EREQQYP99kkLeMMlGTva1zz77DNIinQ0bNsB4bNGLFy88TU1NC2bMmPGHUqm8v2DBgjdKscgGsGrfIGUXypMnT45CIyk7O3sWtNBImZDJZMeio6P/NqN6/fr1uhoaGqshN2psbHQeMmTIdScnp6urV68m/G0Astva2sB0GYO9IyIi4mp3d3fCqlWrIDMiXurXWGpqqkdCQgIBss3NzXkA2Q4ODrvfxpj6XytwBz54YAVUhe7AQgyswP8vKwB3cQ0NjYnXr1+f3dHRYWNvb09QeqOjo0Fj7DdvIinDN2/eZDc3N9vm5ubO4PP5oDjZsVisKsTwzJs37zqLxXpBmuSQxQIosyTIrqurG48YDgaD0QDKFmKIyOxQTF9Q+Kp0ytB/ExMZlUacilzNwMDAfC0trawZM2Y0/PjjjyikjK9cuQItaijc0RUKBUCYNtxxNTU1UWDLkTOpoaGBIr2NxWLpvHz50lMkEsEcpv5VDNDx1yfZVCp1ZnJy8rT29nbO6NGj/yt3cYBsOAofO3ZsXXt7uyfyqwMCAv798ccfZzg6OvabIr3vSVcrvPoLMOhhkYV98eJFl+bmZri72/f29pp3dnaadnR0IEMambuIRNNAM4ROpzewWKwKNze35JCQkCe+vr4E86Cqqorx4MEDe0yyW1tbB3d1dcFdXH2SDcDXl56ervWKXs+5fPnyyFe0vREymcwBk2UUIzinWHMqlQqpANZbADdURGrBnKm3t1cX+lsNDY296iAbgB15oCdPnvy0s7MTk+wGGxubP4Hsc+fO+UFDn5iYOBX5m4jlYrPZDTBSUjUciCJSRbtHwUSAJIANkiaPn7m4uKSOGzcua9iwYZXv00knCxlSk41M75aWFriLx3h6et6eN29ePtZv3759Q+vr6yc/fPhwNqj6Q4YMualUKn9fvnx5Z3R0tGdVVdV6uVxuRqFQKqdMmbI3NDS0DrRvTLK//PLLtSKRiJhkIyd75cqVJMjWSElJMZTJZHbx8fFBMN5RKBRIAgBgUuLa1tLSAv0Pk4F2DQ0NmOqBss999uzZcCMjo0YXF5cUKpX6J5BNTrIfPXpEgOywsLD3BtnW1tYEyD5+/DipySaMyhADd/PmTV+Yn7W3t8PsTp9Go+H+hSwC10RXb2+vlEqlilQZ7kwYT0kkEhtra+tKOp0effToUQCQvuTkZK979+5hMrYCFEg2m502bty4HQsXLkSx+SdDL/IcAmQjxmfbtm1fKxQKbzBF7OzsduzZsyeroKCgS6lUuh8/fnw2QLa2traGrq4uD7p+5FKrrh/cU3+KesL1g3MLp2TEbiGT19fXt4jJZCLv/RkJslHUA2TD+R1JCT/99FP020B2aWkpQRcXCARcgOxRo0YlTJ48GU7FfwHZoIsnJyd/+crcigO6eFhYWD/I7u7uDjx//vw83IMArpBYQCeJfRKAGy8cNxqJeOE7/89Q7n9MINBoQGb26NGjM7W0tPJJujjcxWHkhnMzYsSIOEdHRzjTA2T/RTutBrIxySbo4kwm8+CxY8dAFwddvn+STYJsJAxwOJz/a5Dd3t5OgGxMsmF8hkl2RESE5OjRoyZSqXRyZmYmIvFsoHtnMpmXv//++0I+n8/etGnTUrlcHoLTamZmduzHH39MhncBQPaBAweCa2trv2ppaTEFyN62bRtBF09JSeF2dHRMunbt2jQYUfr4+DxUKpVH9+7dS6YUvHULVwPZftA5h4SEXGUwGDdmz54tXb9+vaOmpuZHiL9EygTiDVks1t0FCxaQLJY/AWMSZEdHR0PDbOzk5FSgra2978CBA6VnzpyhMRiMMQkJCUjOAMiuYjKZv7/yKjj/dwAbB/7DDz/A+HRxcXFxOPLtR40aBZOsi19++SXBsADIhiY7Ly9vHVgTLBYr5fDhw3+aZEN3np+fP+Xx48djBw8eDOPDq9Atv4kBQS4WrqnVq1cjohA+BcPhmh0REXHR2to6ee7cufDu0CDdxSsrK73d3Nwuf/DBB5e1tbXfCrJPnToV9uDBg2mgi3t4eABkX922bVs/yG5rawu5du0afBsQFSk1MDBAbB6RSoHGLbmfqJh0xKEqlUrCh4b8dzs7u5zQ0NAsJpNZrqKL/0lv/raLASBbJpOtqKmpiVTRxeG8ToBsPp+vu3fv3vECgWBxdXW1h4mJSf6CBQsuvGJQIAeeALGvP6/UGzEkhgDY/+2330ZBC52TkzOTy+VCEgGa9pEffvjhjbR98ngBspVK5er6+vpJzc3NLkimcHBwuLpmzZpkvOe7774DjXxeQUHBGMStTpo06SqNRrvztibAAMh+38pu4H3/L1ZgYJL9/2KVB/7GG1cAILuvr2/irVu3ZqHD6+Dg8JRKpe45cuSIOsjG7/ZHEgFsPX36dCyis168eBEJ/auxsXFxQEDAdSMjoyTEhYBKRj4IkpKSMMn0iY6OXsjj8SZCI2xlZXXPz88P2twO1cQFk7h+OhMmEZjOkS+FQgF3bqmbm1t9V1dXXVBQkATu4tevXw98+vTpeIAchUKhSaFQhDQa7YWurm4Lm80WGhoaCs3MzISWlpaI9GpDPm5MTAwKyRAzM7OXNBoNIBuTbOIhBE22lpbWTEyHAbJHjhx5W09P7+J3331HdPbf90WCbNCgkZNNoVDaAgICkJONOJ43mkK97bPfALDJPYOYLMMkq6ioiC2VSs3Ly8utGxoakFHLaW9vN5dKpRwAvN7eXmMqlUrR1dUVu7m5xTo6OqasWLGCoARCY33nzh37mzdvbmxvbx/8arogHTNmzLZp06bleHp6oiEAkE2JiYkxQuwLImKEQuEQFPTI5KbT6aCmNxkZGbWamZkhyqPF3Ny8GVPApqYm50uXLs3t7Oy0BMimUCh/oouTIDs6OvrTrq4uezRfoKfFJJvUPMLQq66uLvLOnTtRcGLncrlPYeqlr68vRoEEkK8qgjDF1oBTLl5dXV2YThKAu7u7e5ClpWW1t7d33fnz54U//PDDW6c76oUgChh1kI1J9pgxY855eXklkCA7ISHBtrCwcFRSUtKnLBarD5pfmKyFhIT03rp1a1hOTs5GQ0NDaObT/fz8Tnz44YconKiNjY0kyI5sbW01xSSbpIsjSio+Pt5VJBKFowCG1AEFoY6OzktdXV0+6I5GRkZiIyMjITLMzc3NG5Gr/PTpU5gJzWaz2a1YIwqFclh9kk1qspFxbG9vj6YDAbLXr19PCJJfL+bUJtmrEXX0GsimZmZm0vPz84MfPXo0HvcUAIO2tnYTXOJ1dHQETCYTxyg2MzNr5nA4OE45n893vHLlymQ+nx/wOsh+8OABmBnj7t+/vxa5vKCLz5w5c+uMGTPQECKjnvr3CZIuDmbFjh07QBf3gnu2vb39Dmiya2trO6FXPXHixNzq6urF2travaamptnDhw9P1tLSaiNNHHEN4QVWBGQyeOFawn9D1quWlla3i4sLD/nFo0ePJszSEOGVk5MzLScn5wMXF5ccW1vb+LeB7NjYWOaDBw/WosnY2NhoCZA9cuTIhKlTp5a+ft+Tmuzk5GRSk10ZFha2A5PsrKwsyCCGnT59Gl4DgUiDsLGxuYs4OBwj4v/wHbCXYrqNf7CP4n/xfTDRRvY3IsQGDx5cQ6FQeD4+PjJMsgGyS0pK4IDvHRgYGG9jYxO3bt26tHeBbKFQSIBsTLIPHz4MujjRvCDp4gDZra2tI5HHDJC9ffv2xP9Sk625atWqKQDZKuMz6JsJTfbEiRPbYapHoVB8sDYtLS0jraysquh0+slly5ZldHV1We/evXtZZ2enn6OjYzmDwTi7devWLJxmEmSDLi4UCjHJztu9ezdhfJaammrR0dERAc8SKpWq5erqmqOlpXVwz549Fe+gi2usWrVqDujiNTU1PqqJOnGvgS5OTrILCgqC8fxbuHDhOUQMRkVFwWjqL6aGr4NsFxeXfE1Nzf0A2ZhkKxSKwLi4uOmVlZUTORwOTOgurF279jd/f39CH/+mexv/7euvv7bV0NBYVlJSEgL2V1BQ0A0mk9lPF3/48CHu1fC8vDwYn3WQIJvUZIMuzuPxpqlAdqiHh0e2paXlle3btyOxg5S8/IWujkn1hg0bbKAH5/F4Q+RyuRLTfDRCQRfHsa1evRrGZ3NVIDsWPgqv0kFy3jbJjomJCU1LS5tWWFgIkP0QSQjbt28nQDZ8Pfh8/tjLly8vfCWhMTEyMkKNctvc3LxBoVD0N+9wn+jo6KBhC3dXIgUEtYhqL9DgcDh1Pj4+L93c3PBcJNf1ndIjdZANpo+/v38/yAYlfcOGDeNbWloWV1ZWepmamhbNnj37IpVKhTHjnybZ5DWHezI9PR151cRmxWKxlEjN+OOPP4bn5ubCMX6uubl5jYWFxZ2goKBfZ82ahe/4F7o4+Xmgi1Op1HU8Hi9SIBDYBwQExKrTxTdv3gwW17zc3Nwx5ubmpVOmTLmira2d+DaQTdLF09PT15mZmWGSnTAwyX7f6nHgff/0CgyA7H96RQc+771XAHRxhUJBaLIlEomtg4NDBYVC2XX8+PF7alMeovhW757C1AYdbqFQ+HFjY6MbphcsFusxHDunT59e4OzsjKKYAOZZWVk0XV1dlz179iDfdDocSM3MzE59+eWXvz979gyaHmV5efkgDw+Pvz1usVjct3z5cjzQ+mpqarRh0LF///51AoEgXCwW29rb25daWVmlDBky5LZCoWh88eKFTC6XKwwNDaFr7vXw8NDp7u72O3bs2DzkX8KFlsFgHD99+vQFUrcGkI1JdlJS0rS2tjYCZDOZzP8KZKNYBXiUyWSeVCoVdPGf5s+ff9/T07PxtU70O8+X2voTOeWq4+1/uMPl9YcfftDYvHkz9VUEliZG+aampqZgGohEInc8HDHtlkqlTGtr6yLEBx04cACTjh7Q7bOyskAXB10SILs9ODh4+/Tp07M9PDyIhkB1dTXrypUrnvn5+evxebgY3N3dc62trVPgdPv06dOmtra2bkNDQyWHw+kzMTHp7e7uxlR95OHDhxdDJ+nq6gqQvevIkSPZJNWSBNkq0yp7Y2NjGJ/tWbduXSHppH716lXPZ8+ehV+/fv0DOp2u5HK5WQYGBge8vb0xwXtngUMuLo4pKCiILDTeGeH1+iQbmmwSZHt7e9+ePXt2AT67srKSWJusrKyvlEqllaamZnVgYODWYcOGaSUlJQUmJycvd3R0zA8LC7vOZDJvz5o1C5mx2gwGg7Vhw4ZPMckWi8VmmGSvWrUqHprsp0+fWhw9ejS8srJydVdXlyGbzeb7+fk9MDExSTMxMal49uyZEPnImpqaBP3a2dm5j8fjIbpl4p07d+ZiQoe8U2iyXwfZfD5/fllZ2Rg7O7u7ANmvaKiJ7wLZeXl5nwJkm5mZxR05cmS/qmCjIU/27NmznwsEAkzbTdzd3QE2U318fNJEIlGzRCLpEAgEPe7u7r24fy0tLRl9fX1wF5/L4/FGOzs7P2MwGMcOHTpETLKR/37hwoWg7Ozsr2igQTCZ2YsWLfrB19e3EVm7as0+wlkce0dubq4hZBPbt28HyHYzNDSsIyO86uvrOywtLa23bds2v6amZgWooaamppd//PHHo/X19TypVPo/bmfv8cL1g7fhGkJT7lUjMqSwsBBFPTTZuQClu3fvfuMkGyA7KytrHbwFeDyexfuC7L6+Po6urm5laGjodhif1dTUYBLvjb0UmmwGg9FqbGz865dffnm9ublZIpVK3+nUje+Ac2FgYNBLylAQ4dXT09MPsgMCAuIxmV+9ejVANrGPq4NKcpJ94MCBj1paWkJAF2cwGIeOHTvWD7JxX3R0dDhu2bKFANl6enoyS0vLHYcPH06EfOZ92CSvNbw0ly9fTriLq+jiWdOnT49VKBQPFixYIKmpqaFBdrFz586PWltbp2Kyb2RkdGTZsmXpfD7f6+zZswvgXTFp0qRLOjo6icuXL6/A5wNk//LLL8EvX77cCJd/RHiRmuyqqipEVAZfvHjxQzA0ILnR1dXdvW/fPmjgX5fwqNdylOXLly9qb2//qKqqytHR0TERwElbWzsNyRsA2Zqamh/n5uYGI5OaBNkzZ84k6OKvrw1AtlQqDYiOjv4Efhf29vYFNBrtF4Ds2NhYLWNjY99Tp05FPXv2bIaRkVELi8X6/ddffz1pYmICtgt5TfRPa8lz+vnnnzv09vZ+/uTJk5FyuXxQZGTkRQMDgxsrVqyAa/mggoICx3Pnzo3Pz88nJtmgtB85cmQrm80mzA1BF29vb5+QlZU1DRnrDg4OJcbGxpf37t17+jWW5p/2WzSGv/nmG8fq6upvW1paPPHMmTZt2klvb++M0NDQ51gDGJ/BDKyqqoqgi8+bNy/27+jiJMguLi6eBU22paVl3K5duwiQfevWLRswP2JiYlZA0w7DRVtb270RERHlPB6v3xDsXXWIWg3Sf2m+L128ra0N0XGYZHsMHToUEV6EuziYJZs2bYIme1FZWRk02RXjxo27pqure33p0qXwRCGkHmpbFHE+S0tL6YMGDYJXDRh/iPoU5ufne6SlpaFJudjExERgamqavGDBgt3h4eHY53C9vo43iM96FVmn19DQsKmpqQkTddQ9MAS8Pn/+fDSiCOOz9vb2+YWFhQDZJZBpdHZ2Jr2KoBS/6Xq9fv26BxhJGRkZBF3c3NwcdPE9A3Tx93jQDLzlH1+BAZD9jy/pwAe+7wqQmuy4uLjZmGTb2dk9pVAouwGy/+4zEEuTn5/v3traiknbjI6ODi4yV93c3G5yudxbX331Vabq97GJa1ZXV3NA1xMIBHPxwICpDh6aSqWyLCIiAm6hpIkZWTzjgaB94cIFjlAo9Ozu7tai0Wito0ePrjQyMhJ1d3drY3r1yy+/bGhraxsB8xgPD48zPj4+d8PCwh51dXV1qqIvCF0inlPnz59namhohN2+fTsKuj3ETzGZzJNnz56Fdo2gHpOT7KSkJMTjcAIDA2/9N5Ps7Oxss8bGRq9Tp06taW1t9err65MGBARAk/1/O8km9ov09HRzPp9v9eLFCytjY2MBOuxTpkx5rvquxAO5vLyccKeG83Rtbe2YysrKIOSDg9JsYGAQv3379uMmJiZygUCge+PGDRiffYUsbaVSKUFRHxkZmU02BO7fv8/Nysoacf/+/XUwr9LW1q4NCAg4ZWdnV+jn51fn4eGBhzhZzBE6wH379tlRqdRJ0MF1dXVxnJ2dyzU0NHYdO3Ysi3www/isoaHBHXRxVYRXg5OT0y6AbDMzMyLaLS0tzba4uHjk9evXP6FQKEx9ff2ygICAX4ODgxFX1qamT+uf8INKjwb/rVu3XKRSqRmLxUJGb5W/v3+Do6MjCsT3BtkwPquurv6cx+MhX9Vw5MiRMD4jQLbqb2tu3brVtqGhYS2Pxxsqk8kUEyZMOGRiYqJdXl7ulZWVNcHKyurGokWLLhsbGz9C9A2KTKlUyl69enU/yPb29t63fPlyAmQnJSUNjouLm1JeXr5MV1cXbsEPwsPDzxobG1cPHjwYJnZENA6pucT53rlz52iBQDA7JydngoGBQQumQjQa7dDWrVv7o4YwyYYmGxmroIuPHz/+Eo1GSwTwx2e8ZZI9NScn51P4NZiamsYdPXoUxmeQDxi1tLS4/fbbb+ulUqk3nN59fX1P+fv73x86dGgl6PyOjo6E8RJ5rCdPnjR4lQwUmZCQALmJHybZenp6x06cOHEFxSriZM6dOzeirKzsm1e0XA6dTn8WFRV1wNDQsHjixIlo+BDSBdXeQoDsCxcu2EkkkrC4uLiFoMsj59Xe3n47crIdHR2lz58/N96xY8esxsbGVaDEmpiYpEdFRZ3T0NBABFS76tjItSS3PUpsbKwBn8/3hkGblpZWp7e3dzXyx/39/QEQQc0Mzs7Onp6dnb3AxcXl7+ji1DNnzkCTvRbNPUyyx44di0zbhIiIiDdOslXGZxsBsul0OozPCJAtFosxzbfesWMHIrwmQkfq6Oh4dt68edeampqezZo1i9zvyDUnfBdASU1LS7Nsbm72AKsDvgyIBLO0tIQLvgIgW6FQoIgGy2fwqFGj4hwcHEiQ/bd08ebmZkKTraend/D06dP9IBs0/kGDBtn961//Qk72aEhKLCwstu/ateuOgYEB/u5bJ6yvP3vI+wyTbBXIduRwOA8BspGTHRERAY0wFSkHmzdvniMWi3G+HWxtbS9GRkbmQOualZU1tqOjo2fOnDkHTU1NiyMjIxHDNKi2ttYAdPHnz58jwrAfZFMolOcSiUS3oaHB78SJE58qFAobAwODWi8vr73Lli3Ls7a27tejql2PxPOuoqLCZNeuXYg3my8Wiw3t7OwuL1269HcNDY2S4ODgToBsCoXyMVggnZ2dfR988MFZQ0PDZIBsFaj6E9AmQfaxY8dAFzcBXfyVozro4nAXpyqVSrsjR47MhBEmjUbrNjExuf7111//1tbW1qCKYPvTXoG1h3nmr7/+6vUqcu6LxsZGJGC0zpo165iFhUX69OnT8SwhIrxiY2PD8/PzP6PT6ZB5kZps7KHEczsuLm747du3EZ21AM9UsF02b958vK2tDTGRmKQT1yB5TnHvIFUiNTV1MNzgOzs7balUKn/SpEn7AwICkAlPOGp/8sknyMmeh9QEV1fXSzNmzLjMYrH+dpJ979490MVnOTs7P+RwOHFkhFdmZqbps2fPfM6fP78Wa8VkMvmvUgcOjR07NmfMmDF8daNJtQk8otF0ExMTHaVSqRWc/JFI4uXlVT948GD16/edjV5MsgGy6+vrI+GWPmTIELiLx69du/YWru3du3cHisXimenp6aFMJlM0ePDgNENDw9NfffVVg/rakfsozO7i4uJseDzeLIFAAKZa0/z5869yuVztS5cuDc/JyVkLPxRDQ8OHn3322c/29vZ8PE/Vvhux3WP/xN5QXFxsfvr0aTSZRiOpZcyYMVibxPHjx5epg2wwoCwsLEqmTp0aq6GhkfQ2Ovvdu3fdk5KSIu7fv/+ZqalpA4fDSXBychoA2e9bmA+87x9dgQGQ/Y8u58CH/ScroGZ8RtDF4QCtqam559ixY3+JllH/XDwYoBltaGhwTk5Ohi5vuEwmM0bMD6ZdEydOvOzg4IDIKRSFFJFIRP/888/nikSi+W1tbVaWlpa5/v7+t11cXBImTZqELFOS1kaC7L6CggKz1NRU3+fPn2MqQWUwGFVLliy5qaWl9RJGZpig//zzzxslEokvNM9+fn4/ffTRR6nu7u54aJL3FfF5oJZnZGRAJz2nvLx8XHNzsxuLxQLF8VRMTAxANvTbvWogG3Rx81GjRt3S1dX9jyfZANk8Hs/77Nmzq8VisVdPT48sMDDw3/8NyCaLLvUudEJCgs+TJ08C8dAzMTF5bmlpme3r6wvTGqW/vz8x7SenTyggEPeVmpo6tby8PMrY2LhOX18/fvfu3cdKS0s73NzcaDdv3rS7e/cu3HX9FAqFDDrYyZMnZ5FrmZ6e7pCdnR0Eh2REK+np6ZVMmjRpe1BQUKUqi/hPnfaCggKd27dve7W0tCx88uTJqN7eXroqwmtXdHQ00R0HoMvJyTESCASIn/msq6vLWUdHh+/s7AyqbwEm2XhfQUGBUVZWlmdSUtI6xBdpamqKAgICzrq6uj6YM2cOikESWPSD7NjYWHZfX5/bgwcPQqH1NjY2Bl371qJFi/JZLBaK4/+ILt7c3Pw5n88HZc5o1KhR59zd3RMWLFhAguxBP/74o4mWlhY0axHQ3A4bNuwGjUbTEgqF3IaGBmtjY+OYL7/88urjx48Fs2fPhkM7AbJXrVr1qVgsjiQn2aQm++bNm4G3bt2aXlBQsARuwUZGRtd++umnX7hcLgAeQDrJaCBuy/T0dOatW7eg911QXV09GJNvBwcHgOyDO3fuRKFGrDcJsh89ejQWEV/vC7LJSbY6yE5OTjbH9QLfgc7OTic9PT0e7sHVq1dncblcODoTznQkmEpPT9d+/Pgxt76+fmF5eXmIWCy2MTc3rwLIVuVkKzGNPHHihGdDQ8NqgHCwtQMDA68ZGRndmTZtWjmXy0Vh3w+yCwoKYNo3VCwWzy0rK8N1podGBIzPXpkJPUSsH4rIXbt2TRSLxUtramo82Gz2C39//wRjY+Mr4eHhdao9Sv053Pfo0SN2enq6CzJ3lUqlMY1Ga5k4ceJtAwODJ8OHD28mNdlZWVkEyIar8t9osgl38fT0dAJkIykBIDsoKOj234HsxMTEjdBko9GACK+IiIjHr3K7OywsLNjffvvtUlVOthmaJYiU8/DwSA4KCkLzhYzn66frpqen22RkZAyrra2dqKOjo9DX1y/5+OOPbwqFwmZ4aIAuDpCtMj4bPHLkyHhnZ2cYH72TLg6QbW5uXgtNtjrILisrgwO59ZYtW9a2trYGIVUCOdn/+te/EmxtbbHn/2nN30W/BnhVB9nQZANkqzTZANkEkPzpp5/GvXz5ckZJSck4Ozs7NAor6uvrHYVCIaenp6dm0aJFexwcHBo8PDwQQ9XX2tqKhABEeCEv2kRXVzcfOdlKpfI55B8VFRX2R48eRYYwcT0OHTr0xNChQ9NmzZpF0Jpfp+Fev34jEbDBAAAgAElEQVQd7vrIOZ/V1NQ0DverpaXlua+++uoPqVRajyabKid7GUC2QqHonT179jk9Pb3kRYsWEVrv1yn6ANkdHR3DDx8+/ImGhsafQLbq+Wa4e/fuqc3NzUukUqmhsbFxdnh4+BUGg5GjohyrMxyIZ0NsbKxtUVHRqKKiouVoguro6DyfPXv2Pltb2+Lg4GCiAVFUVGT7xx9/jCssLPxcR0cHcZJpx44d+7dQKJSpMrAHpaSkOF26dGlyVVXVMkTIGRoa3ouKijpjYmKC6xZg9PU1opw5c8atqqoKTaq5SIHQ19d/Ehwc/Et4eHiFg4MDkW0OkC0Wi0mQDeMznOu3guzffvstDHr8kpKSmU5OTlkcDufqnj17YvBZaPjk5+fbxsfH41rEM47i5+cX6+zsfHflypVIC+h/ZqoaedhTddra2uwyMjIITwwWi4UIupQJEybgmoJ56X+Uk60OshHhBTo2QDaOLyYmxp3H4427efPmHC0tLZqVlRXywo+FhoY+8ff3h+cGySQkNOBpaWnGKSkpyDhf29nZyYHfx4IFC3b5+/uLTp486fHkyZMvIBPT1dWtmjZt2ik9Pb2CuXPnotlKPivJcg7XgblIJPK7du3asq6uLldtbW34xyAn+76Pjw9ysPsn2XhuYJI9adKky1QqNfHvQPbdu3cBstcZGRnxzMzMoA3fMxDh9Z9U5wPv/adWYABk/1MrOfA5//EKAGQrlcqIy5cv92uyAbJPnjz5VpCtXuCfOnWKLhKJZhcXF0dWV1cHQhcIynZUVNRFTIqmTZuGByZBN9y1a1doY2PjzIKCgnAWiyW2srJ6MH78+OOBgYEv3hTpEh8fPzwtLW1SZmbmhzBQwjTvl19+2a+pqVnT1NRERWEPkN3R0eEHQyU/P7+dS5cuTXNxcSFABVms4AFVXl5umJ2d7X737t1PxGKxT3d3N4PJZNax2exTv/32G/RjRLY3QDYivEjjMxTC/y3IFggEPjExMZ+0tbV5DRo0SDp06NBtc+bMIeji//GJ+v8KL+Ihe/r06dG5ubnT7t27t9Ta2rrKzs7u9rJlyw76+vpivfu1q/ju0M3J5fLgjIwMUPpmqPKOrx4+fBiZ4yjKtU+dOmVz//79rxsbG4dKJJLuCRMm7Bo7dmzm2LFj63CsOTk5dqmpqWOTkpLWa2howHyscOrUqbsmT55caWxsjAIXDt6gIxKFR35+vvXVq1dDysrK4K5uCjqbhYVFBY1GIybZZBOguLiY3dDQ4HDw4MGNMKii0+kCNze3nzZs2JBrZGTUrgJqmgcPHrQoKytbVV9fP1YikRj6+Pikm5ubx23atAkRIyTdr39igsmyQqGYDX2aRCKxtrCwqDExMTl46NAhuKUSxfX7nANc65s2bdIXi8XEJBtTKWiyPTw8YPrSD7JRWGtpaQ2NiYmZz+PxggD0lEol9HJaHA6Hr6end2b37t1wkiVMoZBNCuOzzz77bA1ANlyNvb29D6xevfo6Jtl37twZFh8fP7WgoGCpiYkJ9NfXDhw4sOf58+cyFOnqx3779m3aK9dr94sXL0a9ePFillwuN4AmGhOpvr6+fUeOHEFxRVw3X3/99fSmpiZEsYx1dHS8O378+D/RxfG56msDTXZcXNzU3NzcNTA+QwPt8OHDxCQ7Ly/PrKGhwffo0aNru7u7XVgsVrOPj8/2lStXZlpYWCB6pr/xgr8NrTFytzG9amtrc4U22NzcvJLJZJ44cuRInMrYrO+PP/7g9Pb2hsfExMxrbW11dXR0rHJwcPht3rx5Kc7Ozjz148vIyPCJj4+PLCkpWdrd3W2IiTOMGF1dXdGoyUSWO75TdHT00MbGxhk3btyYoaurq+3g4PBo2LBhh8LCwgqdnJwE6m69OFZMYh4+fBiSmJj4UXd3N7KTKz755JOfAUCGDRtG3L9nz54Nyc/Phx51gbW1dS7oqT///POb6OLEJDs/P39tQ0PDeLjxgy7+NpDN5/NNLl265H/r1q0NmGTr6elBk02AbHt7e0zeIQ2ZxuPxouDojOkhl8tNnTFjRrSzs3Mz6cqvfo0g3ggSmLy8vFkcDkdsbm6e8P333x9sb29vJEE26OKIJKutrfUJDAyE8dnfgmwKheK1f//+pSTIfp0uXlJSogc667Zt2+CgHwLjMC6Xu23Hjh034aeguj6IqEbVffHWiSA5yVbRxZfweDxH5GTPmDEjlsFgwPiMiATDubt27Zp3dnZ2eGJi4hIzMzMZ9hGhUGhgaGjYbGRk9MDDw+Pg8uXL8X4CbNbX1xvs2bMnuKamZoNEIjEBXfzHH3/cjQgvf3//jqSkJIOEhIQ1NTU14Twez9rLyysJ+vvvvvsuQaU/7z9uHOeuXbvMOzo6FpeVlYUJhUJ7U1PTakwlVdc42Dm9mzdvdlQqlcvy8vKCoKMHs4LJZL4VZF+5cgVO3MNPnDgBkG3s4OAAqcq+w4cPg9aNfY+6adMmOEAvLCoqCmCxWAJvb+90Z2fn88uWLauGAag67R/HuXfvXjiqI/JqEtgyxsbGmTBmHDNmTD3JInr06JHVyZMnx5WUlGyAVIfJZKbv37//31AiwfYCn1NTU0NEoDU0NKwSi8X2MBQLDg6Gtvv6okWLatFcUW96NzU1EUZfTU1Ns549ezbMwMCAb29vn+7l5RXt7+/PJ/c30O1BF3/+/DmMz2Lnz5//TpD94MGDqaWlpTMxybawsIjbuXNnDFmvnD17Vv/58+eLS0tLJ9TU1LiBDcDlcq9+//338QYGBlLSl4U81tOnTxv39PSAdQP/CG8jIyMwxk5s3rw5HnGY70MTJ+9BTLJbW1uX1dbWYpJN5GSDLv7FF18gLQVRaaZlZWWDb926BdBsr62tLQwODj7r4+NzLywsTL3xQuzjly5dGlxWVgZa+Dwmk6kwNjbOnTRp0i+jR49u3rt3r5NMJluDtAsYfgYEBNzncDi/r127thBRouoNHFwTO3bs8JdIJHOys7PHaWpq0mxtbctsbW1/2bRpUxFMTEmQ3draiog/gi4OkA1NNgmyX39uYP9MSUmZAE02msSYZL+SCu354YcfiBSL933+vs8zeuA9AyvwrhUYANnvWqGBn/+vrQBANoVCiYiNjUVOtrWTkxNhfPa2Sfbr1Nzo6GiYabk8ePBgEp/Pn93a2mrMZDJf2tjYPHB1dY2ZNWtWtbm5OUFFvXDhgsPz589HFhQUfCCXy01hBmZmZpYBfVlAQECFs7MzCnMAYlZTU5M1uvw8Hm84n893s7KyKrGysoKODg9NaWdnJ+hXJtHR0ZtaW1vHSCQSuqurawJ0qMHBwQRAYzAYyvr6ep36+nqLhw8f+rx8+TJAKBT6dXV1GcDBnE6niw0NDc9t27btApfLhQmSUg1kE3TxkJCQWwwG4yIZafK+J4KcZJ8+ffpTUGkREeLg4JDA4XCeaWpqEoW/+ksVF/Kn/0aaFqkyb3stLCyeTpkyBQWbJCEhwT41NRUgdhUcxmk0Wq2zs/NtaAZHjBhRa2lp2S6TyTQaGhrYQqHQKjU1FdOdYTA18fT0vGNra3vzm2++AehDoakFEJubm/t1S0tLgFQqpbm5uSFipNje3v65sbEx39DQECZejpmZmV/IZDK4XAthHOPg4PAwNDS0wsQExr5S6suXL5kCgcAyJSVlVHNz8zC5XO4plUp1qVSqzNTUFFRC6AgRDyfHgxYThmfPnlmfPHnyG5lMhklRp5ub2w1XV9cyU1NTnpOTEyK9RHfu3KE2Nzdj8jGZx+MFotuOwsLd3f2hn5/fEy6XK7K0tOxsamrSysjIsH/27Jn/y5cvx7W1tSGju83HxyeJxWLdnDhxYhlpBvQ+D3p1kK2aZBMRXt7e3nfU6OJwaIdHgNX+/ftBEZ3R04OEqF5tXGP+/v53DQwMrq9bt47QcJNrjkn2ihUrwHSIlEgkZp6envsXL158PSAgoBKGQxcuXIh88uTJalwHTCYTNPPrLi4uBdAnGxsbw+RKu7i42LSmpsYR+aXNzc3e7e3t9kqlUpfNZvNMTU2zjI2N923fvv2lqgHS9+OPP07n8Xjz8/PzgxwcHJIjIiIuicXifk326wXQvXv3fGNjY6dmZ2cTmmwTE5N+unhVVRXz6dOndidOnNgolUqHwgjPycnphqenZ/rMmTOLQR9nsViDampq6NXV1RbZ2dkwsBsOZodcLkcKQB80+MbGxmd++umnOH19fQAfpSqNwO7cuXMLhUIhmAhGRkZGMMIrsrOzK4MBEwB6a2urfklJyTCxWAxKt3N3dzdk3DJDQ8MaR0dHONRn4V5BTXf9+nVOTU0N6KnLZDKZu1Kp7DM3N39gZ2eXNWrUqBJzc/MmJpPZA+lETU2N5b1790bW1dXhGvZACgGXy70/bty4kyhiTUxM0JDrOXnyZHBhYeH0vLy8hQ4ODjk2NjZXd+zY8bcgu76+HppHuIsfeY9JNozPCJAdGhq6c9y4cY8x5UNhfPbsWc+ysjIYzs1HRCGNRmu0s7NDfFKRv79/laWlpRCmf+Xl5Qb19fV2KKAbGxuHiEQiW2dn52xra+tb8+fPv+zh4YH7UKkyPltYUFBAgOyRI0deAch+m/EZptRoHu7evftjRHhZW1sTk2x1TXZdXZ2uQqEw/frrrz8Ti8XjETWnuj5ywVixt7d/OXToUIHqvGMfequEgwTZy5YtmyqTyZbU19c7WFpaZs2aNavfXZycZGdmZponJSWNyM7OXt/b22vY29sLOrW2vb39PR8fn1tsNvvG4sWLwYgg7kXEPP773/8OxiRbJBIRdPGtW7eSIFsCT5HMzMyQ0tLSSfX19eF0Or2VzWYXOTo63vP19a2wt7cXoLkjkUiYeXl5NjDqqq6uDuvo6MDeI/Pz87thZmaWtH79esS1EbpouItTKJRlpaWlIdgroqKizv4dyCYn2UeOHFkNkI19ADnZ+/btA52XmOAfOnQI0/rRhYWFczs6OsyoVKrQxsbmvouLS2FgYGAl5FxGRkYa1dXV7Ly8PCf4MohEomGQ/4AVAHYOZDCRkZHEfQgwV11dbbZ///7Q0tLSTUqlUofFYqHhcw3mhgYGBpjK13Z1dclv377t2NraGpGXlzexp6dHHz9DDrWLi0sxmui6uroysVisXVdXZ1RWVgaPjZEikcgfpqkcDicduezW1tZoyuN+Ja6DVatWLQJdvKqqysvd3f3SvHnzcK7faXxWXFw808XFhQDZmGSrmgsasbGx2hKJJCAjI2OSKuWkm8Vildnb22d6eno+8vT05DEYDLCnaBkZGZZPnz51r66uhg+HI47H3d09w9DQ8Dqy7VXsl3eyodRBtkwmW1ZdXT2ppqbGc8iQIXfUQTbulcTERMuioqKF2HdEIpElh8N5ZGVl9TAwMDDH0dGRR6fTFS0tLTq1tbXm9+/fH8Xj8ZDuYs/lcgu8vb2TcO7Gjx8Pl33Tnp6e4NTUVNQwrjQaTWpubn4fbJuRI0eWGxoaSru7uzXa2tpgxghdPPYF1FAmbDa7YtSoUdcZDMZdNDSDgoKI6xXu4oipRHOWw+EAZMNw8K0g+/79++4JCQkTUlJSYHzWgKaehYXFzwMg+30ryIH3/ZMrMACy/8nVHPis/2gFALJfTZwnwAEaEV7Ozs4wp9r9DpCNv0G6jfeBjnngwIExQqEQWbQBABcMBgPapTNeXl5Z8+fPr0URgKiolJQUu9LS0un19fXDUITQaLQ2AwODCgMDg2cwK1MV+foaGhoOPB7PA1FUKA6cnZ0ToVNasmQJHMmhB4Xjr+4ff/yxFJS8pqYmN319fT6bzS7X19cvlMlkYoRg6ujo6Oro6Fh3dHQ4yGQyrlwulykUClZPT48hpqQcDufSF1988fsrfVw9HNHVQPaMtrY286CgoJtsNrs/N/R9Fxed6cbGRm/kP0skEujdNAwNDWG0Jkb0EopGVZwOkc1LRpfh81X5z8jrRRQPTE2Qe6uwsLC4sXLlynQzM7MWrCXMturq6ubU1NQM6erqIgobFA10Ov1FR0cH4pIoWlpaaCjY8/l8T2hLKRSKyNPT86q3t/eD+fPnP1UVINTDhw8blZeXf9LQ0DBWLBZbGRkZ1dHpdD6Tyaz18/PLRc42MpsrKioW8/n8oV1dXcYmJiZwFS/W1tZ+KpFI2nR0dDRpNJo+lUq1bmtrc+ru7mYD4CJeSalU0jEtsbOz+3Xx4sXpPj4+RIwZXLQLCwvN4uPjP29paRmFgpfD4TwHSESc1+DBg9P9/f3LtbW1WwQCgfXFixfHYRrY3t5up6enhxiWGlANKRSKQKlUymH4JpVKnVFctLe326IZoK+vXxQaGops06ezZ88mppbvA7CJCryvT2PHjh36NTU1BF0cmmxEePn6+iZERUUVkp+Fa0kkEult2rSJkEQ0NzfDtZ/CZDKrIyIiTtnY2GBK9IKcJqGxAXfxL774AqZQk2Qymamrq+uBJUuWXAPIBvPi7NmzI+vr6xcj9x15yObm5s/pdDqyuXkymaybTqfDUNBs0KBBtiKRyL6rqwuO6gpQ6rW1tUHtLB88ePAvS5YseUZOpjZv3jyjsbGxH2RPmDDh4t+B7JSUFL/Lly8DZK9Vgeyrx48f/4VsFNy+fdswPj4e5odBMB/EdcNmsx+xWKySrq4uCdZHU1NTT1tb2woRcx0dHZyurq5WuVxuAgCmpaUl53K5cEK+4uHhAS0mNNzUlpYWTLsADMORAQ+HbGS+Y1/R0dHB1Ina3d1tIBQKzRQKhTaNRpOLRCLk32oYGRm9tLOzI0C2imWhUV9fD5M2E1BJ6+rqxgqFQjc6nS5DTJORkdFjqVSKCXm3tra2LnTETU1NHu3t7Vwcn7W1dYa3t3eKg4PD/fDwcAKcgQIMkJ2fnz89Nzd3oZOTU7atrW3c20A26OJ3795diwivpqYmaLL/FmTfunXL7+7du1/29fWZg/IZEhKyA5psEmQ/fvxYPyEhwb2srCyqqanJt6enx9jAwEDIYDAe0+n050qlEnspta+vz3jQoEFOmJ4pFAo9Go0mdHFxueXp6Xn/ww8/RHwYARQAsuVyOaagbwXZ5N6n8kkAFZwA2S0tLaE2NjYEyD5x4gShyVa9V4vP57O+/fbbFS0tLZEtLS1WyG83MDBowP3s7u6ePmrUqOIhQ4bUqDlqv3GaTYLsV9TeqRKJZGldXR0Jskm6ONFMIbXGqug8sE88ZTKZAe4HFxeX81OnTo2j0+nFAA/k+7HnbN68OfjFixfQpJro6ekRILu9vf15cHBwK+5tgNyUlJSxdXV10yQSiT32cH19/RcMBgMu44ii7KBSqfpdXV12UqnUqaWlhYu9x8DAoGT8+PFXfX19n3p7exMmVli/tWvXOmlqai4vKSkh3MVnzpz5G5vNTnqdLk6+n9Rkgy5OoVBM3NzcCigUChqW5CS7F02vvLw828zMzFnYo1tbWy319fUFbDb7GcCxUqkUaWhoIGfdSCaTuWDPkMuRysVqsLW1vTV+/Pg0JDCodNT40zArZG3dunVkbW3tejRPKRRKj42NzQtNTU2wax5FRUVBTvBCIBBod3R0uFy9enUm6NgqB+8aJpNZCZnXK3M1sJJ0cM+jyYVce2h/8dy3srJKWLFiRRqFQmlRgVdi612zZg2hyYbjtpub26U5c+a80/gsPT0d7J/Z7u7umVwul5xkk4wajaysLM61a9dGI+VEIBDgHKCB2QifDw0NjXqlUglqtm5vby/2K8fGxkYnKpXagRpl1KhRN0xNTUtmz57d8CYzwL+rDcic7JqaGoBsb5izOjs7x2OSTQ4uTp06pScQCAIfP34c1tTUNBLxm2w2uw4mbRoaGmiUom7QGTRokBWPx3NHcoiOjo7IxsYGkjtIg54HBQV1p6en07W0tCzPnj07VSAQjGlra3MEs4HNZlfjnHV2drap6gp9kUjkguckPgspIaampunz58+/BvNIb29vYoqN6/Wbb75BROr8oqKiYPgZTJw48VJ3d3ciaXymvjfg3zHJTk5OJkA2h8NpsLCwSHh1oe0FXfx9n73vW2sNvG9gBd61AgMg+10rNPDz/7UVOH78OHfQoEHj//jjj/kogl1dXR9ramoS7uJ/90fVjUKwad67d8+qsrIyIC4ubrlQKHTt7e1V+Pv7p1hZWYHSe1elX1IWFBToamlp2V+4cGFidXU1AJMdQLmmpmYPuv4okqFXxXQW008DA4PqMWPG3GcymbeCg4OfqIyUCJofcrL9/f0HZ2VljausrJyODi8ybaGdUlGIicjYnp4ePMwb4T7u5eV1p6qqyuXFixcA5lxMx1euXPmHtrY2ir0OgOy+vr6olJSUmW1tbRYjRoy4wWAwft+8efN/FOEFkN3c3Ox17ty5tapYLGQYY6JCRvAiJoTA2STIxsQSDz/8g5heaPXwZrjkamlpgW59aOfOnb/n5eURut60tDT93t5e98uXL0c1NDRgkmmlra0NOjJyieX4HBjEyeVyho6OjozL5ZZNnjwZuu3kadOmkTQ+ogA5fPgwvbe3d0pubu7EmpqakQAuUqkUWVjtYWFhV2BU5+7uXt7Z2Tn8xo0bU2pra8dKpVIjrDOVSkUWuQLZQkqlUrOjo0PTzs6u3MPDIy84OPh+TEzMTD6fP6y9vV3fx8fn4Jw5cxKHDx+OqBqiWZOQkKCXn5//4ZMnTyZUVVX5Iq6tt7cXedCtISEhRwMDA5NmzJhBGLDcunXLuaGhITA3NzeypqYGEVeGurq6yGNGXBeaERoSiYSG/HUTE5Nmd3f3tMDAwLuvpm0ZK1as+BPN+n1uKpye7du3G7x48eILPp8fLBQK9YOCgs75+PjcmTt3LhGBpv7atGnTRJFINAc6dJw3NptdPGPGjL2qIpukyIKtoWVoaMhav379p21tbZFdXV0onH+dOXPmjZCQEML1OC4uzlYul4+9evXqdDjwdnZ2MuDQDDCoUCgAErTAyEAetaura6mTkxP05ryEhISFyAlG8T9hwoR9U6dOzSez2Tdt2jTjlUHW/JKSEuRk3w0NDb30SuuZ8DZ38Zs3b/pfuXIFNGMYnz0xNTW9evLkyb0k1RbNru7u7mGJiYkTHj9+PAm0dzSM0OvAtYgaraenB2CPiqaMs7Nzia+vb1pWVpZ/TU3NOJFIZIxra82aNRdbWlqeqJsg8vl8o1u3bnk/f/58Olx30WTp7OxEs6ZHlQOtAeaGs7PzIxcXl2eXLl1aIJfLLfX09F7a2tru+Oabb/pBNo4Xmd4MBoMbExMTVl1dPQUMma6uLobqPsR1jOgpikKhAPVfDjA4dOjQHA6Hc2P58uW5VVVVPY6Ojlh33JeE8RkivLKysj50dHTMgiZ7586dx1+/JvDdL1y4wAIboKamZgKPx7MMCQk5EhIS8kZNNkyh0tPTfVNSUtYjg1xLSwuNmp2RkZFPVHRxaN0Bqhgymcz16NGjAMZjcc6xvwAIoYGAdcf939PTo8tgMNrMzc2fjhkzJk1PT+/OBx988EJ1DgkvDBifyeVyuItPq6urGxwQEHDZycnpqionux+kqJ13UME9d+3ataylpSXM2toazS51kE16Bmjs3Lkzqrq6enJ5efmo9vZ2GtyU9fT0sHdHh4aGXouKikLaAPE33kbBfR1kNzQ0OMH4bNq0aZeUSmUG3MVV604A7e+//962p6dnWVlZWZBIJLJisVgia2vrw19//XW8nZ0dwG6/6VpdXZ3hrl27QgCyJRKJsa6uLkEX7+joqAoKCiLlTr23b9+2BtMnOTl5alNTk6dEIjHq6elRamlpKbD/wCcEucp4lnE4nCYnJ6eUyMjIO0qlsiQoKAjPJFLO0rdx40bHV2ZfK3JycoLlcnkfNNlsNvvORx99VKHWuOv3J7l69aplZ2fnCJW7uKmzs3ORjo7Oz3AXV9OE9yHOi0ajeaSmpoZXV1ePr62tRXqIFmRcyFTH9QBGAY7TwMCg1dLSErrpm2B1jB8/Hv4WkP2Q+mTiHO7btw/N7g+zs7MDGhsbsSfpaGlpEVF4a9asOaarq5sbFhbWdOzYMa1XmuXRGRkZ4548eRKKWELVPt5Jo9E6cRxdXV1oYvUymUxE+j0OCgq65unpWTh06FBof0lTQ+L5vnr16kXwWqipqfFycHC4OHXqVBhH/l1OdghyssvKyua4uLg8sLS0BLPkvBr7jmgopaWlcfl8vm9iYuJU+KZIJBJOX1+fQltbuwvPMZioYm8FgwxDAAcHh6wRI0akWllZpQUFBb231Eh9H1DRxVe8fPlyEnLoAbKdnJzi1EA2+XbamTNnAvC+e/fujUDCSV9fH3LQAXh7FAoFmu86YAbAwHT06NF39fX1UxYtWvRYff1wH928edMTni1Pnz6Nqqmpwd6pR6fTIRsAWMdLG7UX9jpDQ8MGf3//q8OHD783bty4R69LfTZu3Bja1ta2oKysLMTExKQoMjLyj1excYS7ONEReS2BID4+3j01NZWgi1taWvKsra0THB0df4a7+ADIfp/KY+A9/+QKDIDsf3I1Bz7rP1qBO3fuGCqVSs979+6BRm3E5XJBfUtct27ds/cwounX1uTn59OrqqrMi4uLg2UymRUKDmdnZz6Hw4HhBoxFMAHqRVHO5XLply5dsgYNq7u7GxMWs56eHjjRUqhUKkAnNFwAbcjarbSxsXnKZDJ5ixcvhh5R3bgDE212YWGhHRy8hUIhKKMmfX19ugCucN6FlltTU7NJU1MTmanP4Aza2Nho397e7tvS0mKK6WBwcHARjUar9Pb27kxMTGR3dHT45+Xl+chkMpaXl9cTOp2es2DBgur/ZGERXwPTq5s3b2I90MigIm+TnF6Tn0WCbPXPVptsE4UgqOQo3IyMjO6vWbMmX19fn6DUAag1NjYys7OzncRisYtCocA/BgqFAp14DSqVCowOk6wOTU1NOKlXgIaNzPDw8ElQVtUAACAASURBVHDiYUfqs6KjozV1dXW5iEtBjFd3d7exQqHQQRff398fTt95Hh4ezzFBKykpcRUKhSi8XAcNGqSHqSKOGecYBnSDBg2CBrnC1NS0BgY6iLECGAArwcXFJX3kyJGg5kE3T3w/gJ/CwkLn2tpab1B/lUolC2BdQ0NDNnTo0HQnJ6fSoKAgNAVQIDFqa2vNampq0IF3lsvlNt3d3SwU7uQ5h/4QUxEdHZ0K0POdnJxelpaWtmzevPmdLrBvAEiU69ev6z1//jyspaXFGbIEPz+/HGtr6/LQ0FAwNPpNivDvZ86ccWltbQUt2gU/0tPTqxs2bFiiq6srpjTqLvpYMN2tW7eGyGQyL4A96BJDQ0NheEMwOmJjY/VgulVaWjpYIpG4IkccxR/lf15gP6C5gO9Zh/XmcDg8GN9VVlaO7ezstKBSqV0jRoxI8/Pzq7a0tEQx1PfKmMoXFNFnz545crncZwEBAaBhl6qc+AmQo67Zy8zMtHn48OHgioqKIDMzM2ShF69fvz5FvRBPSUnRLy4utm9sbPTs6OhwxqQMBZzqfsY1IaNSqchNx9S40t7evrG+vh5Mg8Ht7e3Yc8rDw8ML6HQ6aN5EI4TMfz937px+ZWWlVVtbm0NPTw+kLca43mBA1dvb26qtrU0Az1caQvahQ4cI52Do4c3MzLZ99tlnuXZ2dv0aRMQNubi46CQmJloIhUJHhULhJpfLrXCtAwijqAZjQKFQdL+KV6rHRBiZ7NA8L1y4EFGDxOlWTX97ExMTXZ8+fQpt5FDkRFtaWhYvXbr0L81JrGdWVpZOUVFRGJ/PdxcKhSxfX98HgwcPLhs2bBjheaD+EggEiPuyzs3NDVEoFGycY7gRjxgxotHMzIwEa2gaAEQzExIS7LD39fb2uvX19WHtAYCJ4G8wYOA3AVOr/8PenUBHVd7/4589+0YSkkBCQkjCvkkEibJLEncBpWKUWq32qGDbrz9P60LB2m+rdWmPS4u2PRZFrUGo1bqBKC5FWQKo7IEASUgyIfs+M3dm/v/P9X7yfZgmZLYkk7nvOQfNcufe53ndO5l532eLiIg4npmZKbe83n777XIrFb8GaVK66urqWTQDM81+Pnny5AO01N/VV19NN3zOm3ldeR1S1+HUt95669KWlpaxiYmJ1Mvgs/vvv1/uEi3WZ+PGjZkVFRWTqLt6R0dHLM1VYDKZnOPHj/984sSJJYsXLz7ibsh+/vnnp/7/S87Nrq2tHU7ned68edRtujQvL08e68kB9a9//eswrVY7q6ysbCwFZ+oyGxMTs+P222//ltZq50nX6DqrqamJ2LJly7izZ88ubm9vpxuS5UVFRdvJibrTK3Wh0BJGN4WOHTs2loYn2Gy2zPb29hglkNFayuTdYjQazdT7gK71hQsXntbr9S0zZswQZ313/v3vfx9usVjmlZaWZlN38fnz5+8ymUyHlBn0/8t7586dtExd9kcffUQ3QKMSExOpN8BH//M//0PhVPwMqX3vvfeijxw5klZfX09jc8dardZk+ptK7620hB3dgDQajY1hYWHU0nwiJyfnWFpa2jkKkEIPNfllSKSvvPJKnCRJOcePH7+IhqN0dnbG0Otk2LBhZUuXLv2MrqvJkyc30evLYDDEHzt2LJ0ms7TZbFQ36rpMS03R8BnapxQSEmKm9ebpvX3y5Mll48aNa5gxYwY5d/eOow2fffbZ2a2trblVVVUpaWlpNBnbvvLy8jK6wdzTe/G2bdvGHzhwYGppaelFo0ePPk3rTd9xxx3yJJti76WdO3eGVVZWDtu/f39We3t7ts1mG22z2ajHB/1tpfNEN/Es1AtLr9efSEhIOE77o89Gva3RfaHPBnRsen/V6XRzKioqJpvN5pRx48YdoiFwy5Yto5vH4moJ2pdffnlYQ0PDKFrqy2q1Ztvt9pEOh4NWy7DrdDr6PNNuMpkqw8LCytLS0o4kJCTU3HjjjTzHQPdretOmTTTsLqWmpobek8ZJkjRSq9VGK73m6M8DXQfNRqPxrFarPZGWlnZ86tSp1ZdffjnPnN59k+fll18e19raOqu0tHQM9ZibOXMm3WCmm/by3xGXcd7aXbt2jfzmm28m7NmzZ25iYmJLUlLSYZ1Ot2316tXyKi4X8sLvIOBvAYRsf4tif24LUHdd6mp4+PDhROpdHRUV1RUREXFm9uzZjZ78MaQ/sjQu9cyZM+mtra2xLS0tJvrAHxERUZOfn0/dQLtnBVbCnXH37t3RNTU1o6qrq2kt0igaY0pvcrQECd1xTUpKqqI/+llZWbTmdvf4J9dW9KqqqvBz584NO3bsGHWjiqduu/SGbTKZHLTsyOjRo6tjY2NpfBEtASRt3bqVgjjNjBxpMpnaU1JS6qgLdkZGhq2kpCREr9fTONd4as1NSkpqio6Orp42bRqN2Xb7zaG0tJRaU6No3V/60MvN1/RBhz6MuZ4go5HeQ//vQXes+aF8ONLQ7M3Kh7Du8YRUJqp/aWlpPHVvLSsri2tpaQm3WiknGGhNXWtMTEwr3U3Ozs6uofXLe6qH8iap/+KLLxIbGxtH1tTU0M0XWjbNlpaWVkvnYsqUKXXKBFbRJ0+eHE7jcamVnMY7UssIdaGMjo5unjJlSnV8fHzNhAkTqBXIsXXrVpoZdzita56SklJJE01lZGTIN0yEoB/y8ccfD6dWJ/qgS2NuKUilp6dX0nhZ+hDH5abl4zIzM6MOHTqUUldXl1xZWRnb1dUlA9IyK9HR0R3Dhw+vnzx58pmYmJhmWl/Zk3Mnnge61mhN9tOnT6dSS7zFYjGmp6fXDBs2rD47O5vqIIZsmgSIbq7EUyss/Y7GjlOX+9mzZ8uz1wvdxenvvuGDDz6gbokUHA3UmjBx4sS6xMREDkDy7r/99tvEkydPppw5c4bWyg2jGwrUfZomsUlISKibOXMmLc9ipuXYduzYYbRardTaFEOtmllZWTSJUaMSzmg29+G0pFl1dXVMQkJCc3p6Ok00Ry17cuuVcD7kCXboZlF5eXki9fqg1pSYmJg6mhjJpbVLXiKqo6Mj/uuvv6abZ8Pa29vDlWvCRq2qGRkZZprxfM6cOTQrr/3999+nD98p7e3tEXSOqBwajaZh4sSJtIxXSHNzM91okf8WzJ49u+PgwYMxXV1dsTQTdGtrK92AoWWKaE6HapoHoK2tbdqzzz77U6fTOYqWGouKivrdH//4R7q519MHcuraH37w4MGRJ06cSK6rq6MWSZPSi0SiXiNJSUk148ePp5tFfHOEQ4d8eZANdek3m81kMzwuLq49LCzsHE8U6Pr6pmvWYDCMamlpGdbR0UFr2FePGDGi+xpyueZMJSUl9AE5Venl0zVhwoQKq9XawWNBlTLIf0eopWvHjh1xNClXU1PTMHpNtre3G6m1Pzw8nF7/7aNGjaoYN26cOTU1VW55Uh5imNPv2bOHlgVMoHOSkZFRp9frz82cOZNvLpw3WRG/Bvfv359Cc1xERETQ+8bZ+fPnd8+6rBzDSTPGl5aWDmtra0tvbGyM6uzspBswNMfEWTp/l156aW1f3W9d/j4ld3R0hMXFxVErY21WVha9V1Gvie4H/f3t6OhIpPeF5ubmcOouTsEkPz+f/v7R7P5ygFBek8adO3fS0IN0SZIoDLVNnz6d5oKQWw+VncrjhNetW6e79dZbo06dOpV07ty5EZWVlTE0F8D390J19tjY2Jbhw4efy8nJOTtp0iT6+8dL7XUHFjplhw4dCj979mxqa2trDL0fTJgwgeZZqBeWWTpvDW4as+t0OuMOHz6c3N7eTtcqBa0zV1xxBXeTP+8Sovdiev85efJk2pkzZ4Y3NTVFKy209DfJSpPfpaWl0WoANLaaAhofT7wm+Gud2WwOpcksW1paaF/099lBqzRceumllTTzvrKGvbw9zYNy7ty5uBMnTqTSTYn6+vpIGspC7+2hoaGWUaNG0QR0NTRkKCkpiddv5tdX998gGltP7xv19fU0+zjNAXKOrt/e3r+OHj067PTp0wlVVVWJycnJbaGhoecWLVrUPQmq69/1c+fOhe/fvz+RZp2vqKig4Sv0nq2lngmRkZFdUVFRLaNHjy7Pzs6uHzFihPg32fXlfcHv6VqjxoWoqKgRtbW19PkkPCkpqYHeo6ZMmUKvL/HmL9ffePDgweQjR46kms3mpMbGxlBKxREREZaEhIRWek/MzMw0V1ZWNs6fP5+X6zvvJjJ/ziovL4/cv39/am1tLe0nVpIk+QYc3SihCexoX5dccsnZuLg4vt75Zkd3vUpKSoZRiz/dAKRhWvT3uqurq54nqRNvYtBrmXrZ1NXVDTt16lQKLZ9Jy5KZzeby3m6QeASKjSHgoQBCtodg2Lx/BcS7kr4eSeiqJX8e5A/xnoYe1xkx+YOuP8qq7KP7jcW1y6I/juGro/JhWv5bIbZAe+Lo2m3OkzJ5Y+DO8dzZxrWc4ht6X3XwptwuH8a42+t/Tcrk8sFCnuGXuxK77sPd8+RyLbo9sY639RSO112/C50T8XdiUHPndS08V+42yyY8MRFd2pWVlTSON6GxsXESDZ/Q6XT0AZdavGgcdo/d/YuLi0dbrdYFf/vb336k1WpjJ02atNvhcPzxueeeo1ai7tYxb143rjMy83l193z2dX268/u+/j65sw/h7wd3/e5e4s/d5/e1nUtw5VDZ/Xf/Qs935/rtq7XbjfJR3SlYc8i+4CzHrjdz+9p/T3+nXHsBuL5mevhbw58HxZvK3X/3XbaX68O9K1yP7+412tcNDnfq3dPfETefJ78+Xf9+ePE3XnZwt87ulM1f2/T295TnQ3EJ2W4vC6a8psVA7JOBy2c1rj73wHDL1tvrwF/W2A8EehJAyMZ1EVAC7nzg6avAvA+hK9t5Hxq8eTN0/YAv7sP1TVn8QObOhyWhvGKI5ZaOHj/k9GXgbdDqab+u5ettGyG4dE/uJT6XnueJvetzhQ+JvY6f7H53VtYq7+t4PX2gulB93Q3mvl7HvZVB3K/L190fGC907j0Isf/1gbu3a078gOTpTaLe/Hs7b71cE1w0NjhvWSPhunEN2GIYo81Mf/jDH7JPnz59y7lz52hSxoYrr7zyvYSEhAOFhYXUI+a8B7XiPvbYY7mNjY237N27d05YWFgLjXXW6XRvPPDAAzTEg8rjegPhvBtV4mvC9Zrp5e8Kn5fzWv/6us49fV24XkOevnZ7sGLr7mDm+jeUj+HOa6eH1wH/nZRdetuHO/v25O+bu3+H3Qnpvb22Pf1bLvRYcb3W/qsr+IXO84XCZm/vWeJ4896e7/L+7EmA6vH9w92/yS6vgV4txHL3db0ov5df58LfGbfq5O614+t2F3iPO6+Hg3Cc82x6Of5/bXOBXmryLvr4m97j+XA9F339nXN9DfW1va+2eD4E+hJAyO5LCL8fcgIuH8TlsCq+wXrzh7evcOLygfG8O+TC7LVudfl258OWJyflQh+W3NlPXx80+ENtXyHbU/deAtV5H6Z7K787Ze7rub19MHCn9cVXc0/Py4U+0PYQZnptdXB97bjbQsOvD09Dtjv17CWw/deHtp6CjMsH+vNuzrh+2Kcu9L/73e+y6+vrbzt69OhlNFHT5MmTP01ISPh0/PjxhydMmNDW1NTkNBqNuubm5pBdu3aNKi0tzauvr1/a0tISFx0d/e3111//mk6n+/rWW2+lLuhuOYuvGzc/jMovOW8+1PvyuvDmXPUQ4ro/TPs5ZF/wg7xLwPLoZl9P15+3f8su9Dx/nZue/j71FIr7qoMnf8Nc9+/6ntDDdeDW+XL3vHlR1l5vYnsRssWA6FOLrq+vMU+eL36m4b87rj+70P76un74GuB9uHPjtK/XR1/H9DSUe+KFbSHgjQBCtjdqeA4EIAABCAx5AdegvWnTpiS73b7wH//4x011dXVT4+LiGmhN4qlTp5bQ8lw0mZfFYgmhCdb27t07u6ysbMbZs2cnDB8+/NTw4cPfu//++/9KawRnZ2fLS+X19aFwyAOiAhCAAAQgAAEI9CiAkI0LAwIQgAAEVC3ALThbt24NoxUHtm3bdnVtbe2C2traHGWpuFaTydRESDT7PC1FpNFo4oxGozYqKqqJluNLS0v7/Oqrr6Yly2g5Lo9nk1f1CUDlIQABCEAAAkEmgJAdZCcU1YEABCAAAc8EhG6SNNRDT+vzlpeXT6d/NpsthZafoW7itIQXTYpms9kknU7XGhIScjYhIeFoTk7OntmzZ5+YNWsWrUaABwQgAAEIQAACKhdAyFb5BYDqQwACEFC7gDBBYTdFSUlJlFarTT9y5MgYWneelgSildpoGaKIiIjmkSNHnklOTj6ZnZ19gpYDopmj1e6I+kMAAhCAAAQg8L0AQjauBAhAAAIQUL2A0JotW5SUlOhDQ0NDDh8+HFZRURHa2tpK6z9rDQaDMywsTBo2bFjXRRdd1DFx4sROcRZx1UMCAAIQgAAEIAABhGxcAxCAAAQgAIGeZrPHxGW4LiAAAQhAAAIQ8EYALdneqOE5EIAABCAQtAJ9LaeEmcOD9tSjYhCAAAQgAAG/CCBk+4URO4EABCAAAQhAAAIQgAAEIAABCGBMNq4BCEAAAhCAAAQgAAEIQAACEICA3wTQku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AEIQAACEIAABCAAAb8JIGT7jRI7ggAEIAABCEAAAhCAAAQgAAG1CyBkq/0KQP0hAAEIQAACEIAABCAAAQhAwG8CCNl+o8SOIAABCEAAAhCAAAQgAAEIQEDtAgjZar8CUH8IQAACEIAABCAAAQhAAAIQ8JsAQrbfKLEjCEAAAhCAAAQgAAEIQAACEFC7AEK22q8A1B8CEIAABCAAAQhAAAIQgAAE/CaAkO03SuwIAhCAAAQgAAEIQAACEIAABNQugJCt9isA9YcABCAAAQhAAAIQgAAEIAABvwkgZPuNEjuCAAQgAAEIQAACEIAABCAAAbULIGSr/QpA/SEAAQhAAAIQgAAEIAABCEDAbwII2X6jxI4gAAEIQAACEIAABCAAAQhAQO0CCNlqvwJQfwhAAAIQgAAEIAABCEAAAhDwmwBCtt8osSMIQAACEIAABCAAAQhAAAIQULsAQrbarwDUHwIQgAAEIAABCEAAAhCAAAT8JoCQ7TdK7AgCEIAABCAAAQhAAAIQgAAE1C6AkK32KwD1hwAEIAABCEAAAhCAAAQgAAG/CSBk+40SO4IABCAAAQhAAAIQgAAEIAABtQsgZKv9CkD9IQABCEAAAhCAAAQgAAEIQMBvAgjZfqPEjiAAAQhAAAIQgAAEIAABCEBA7QII2Wq/AlB/CEAAAhCAAAQgAAEIQAACEPCbAEK23yixIwhAAAIQgAAEIAABCEAAAhBQuwBCttqvANQfAhCAAAQgAAEIQAACEIAABPwmgJDtN0rsCAIQgAAEIAABCEAAAhCAAATULoCQrfYrAPWHAAQgAIEhK7Bu3TpDfX29/rPPPjMkJycP2XoEQsFramo0F110kf2HP/yhNH/+fLtWq3UGQrlQBghAAAIQGHoCCNlD75yhxBCAAAQgoHIBp9OppRC4fv36qSUlJTP2798/02QyOQwGA/1C43Q65YDocDjoa1mLfj5AD9cDBXpYpfJqrVarNikp6djq1at3dHZ2nrzuuutaB8gLh4EABCAAgSATGLB33CBzQ3UgAAEIQAACgyJAAVsJzc5nn302/z//+c/V//nPf5YYjUanTqeTQ7ZGo+kOthSy6d8ghexAD9gyJf3HZrPpRowY8eUvfvGLV5xO5+6lS5fWD8oJxkEhAAEIQGDICyBkD/lTiApAAAIQgICaBJSQTS3Zjqeffvrajz766MatW7feYjQa5SDNgVqn02noH7Vm0z9+DGDYHjKnhcwkSdKkp6dv/9///d8/S5L0xcqVK2uHTAVQUAhAAAIQCCgBhOyAOh0oDAQgAAEIQODCAk6nU09baLVa+5NPPnnVtm3bln/88ccrQ0ND5VBtt9vlsM0hm7bloI2A3butzWbTpKWlffyb3/zmT3q9/svly5efw7UIAQhAAAIQ8EYAIdsbNTwHAhCAAAQgMEgCTqdT933G1tp///vfX00h+5NPPrmVQrZer5dDNv2fu4lT2KYHj80epGIH9GHJxmq1alJTUz/+3e9+94JWq/0PQnZAnzIUDgIQgEBACyBkB/TpQeEgAAEIQAAC5wuIY7KfeOKJa7dv304hu8hkMsnhmh70f2q9puBIX4tdx+H53wIUsru6uuSW7McffxwhGxcJBCAAAQj4JICQ7RMfngwBCEAAAhAYPIEnn3zyGqUl+xYO2Twum0o1CDOLDx6GD0cmJ4vFQiF72xNPPPGC0+nciZZsH0DxVAhAAAIqF0DIVvkFgOpDAAIQgMDQFXj88cev+fTTT2/cvn37rTTxmcFg6J78jGrFgXuAZxcfcqBCd/Ftjz/++PMajeYrhOwhdxpRYAhAAAIBI4CQHTCnAgWBAAQgAAEIeCaAkO2ZV29bI2T7xxF7gQAEIACB7wUQsnElQAACEIAABIaoAEK2f04cQrZ/HLEXCEAAAhBAyMY1AAEIQAACEBjSAgjZ/jl9CNn+ccReIAABCEAAIRvXAAQgAAEIQGBICyBk++f0iSH7t7/97Qs6nQ4Tn/mHFnuBAAQgoEoBdBdX5WlHpSEAAQhAIBgEELL9cxYRsv3jiL1AAAIQgABasnENQAACEIAABIa0gLiEF2YX9/5UImR7b4dnQgACEIDAfwugJRtXBQQgAAEIQGCICiBk++fEIWT7xxF7gQAEIAABtGTjGoAABCAAAQgMaQGEbP+cPoRs/zhiLxCAAAQggJCNawACEIAABCAwpAUQsv1z+oSQ/fETTzzxvNPpxMRn/qHFXiAAAQioUgDdxVV52lFpCEAAAhAINAGn0ym/J2u1WueFyiZuxyF7+/btt4SEhGj0er2GAqOyH9qX/D39o6/x6FmAfCwWiyYtLe3j3//+9y84HI7/LF++/By8IAABCEAAAt4I4B3XGzU8BwIQgAAEIOAHAQrMFKqV4KzTaDSUkOmHPQZtp9NJ23CIdjzzzDPXfPTRRzd+9NFHt0ZERGh0Op3GZrNpDAaD/DUFa4fDIW+PoN37CSObrq4uOWQ/9dRTf7Lb7V/2FbL5Zoc7N0b8cKlgFxCAAAQgMIQEELKH0MlCUSEAAQhAILgElNAsh2p3WrJdg92zzz571QcffLB869atK0NDQ89ryRbCOFqz+7hshJbsbU888cQL6C4eXK8z1AYCEIDAQAsgZA+0OI4HAQhAAAIQ+L5lmd6DqWVae+jQIV1MTIzebDZ3vy8nJSWd15ot/o4BP//884KtW7cu2759+80mk0nLLdiSJHV3G6cWbXpQiza6jPd+6VmtVk1qaur2tWvXvhgaGrorMzOzbsSIEZqqqipNT+eCfkcP+n19fb02MzNT2r9/v7R8+XI7LnAIQAACEFC3AEK2us8/ag8BCEAAAoMkwCHbbDaHtrW1RVgslmhJkvQmk8np4D7eQtmoXzk96Pc0fpgeb7zxxoLPP//8iq+//voafwWc9gAAIABJREFUnU6n0+v1ctC22+3/FbJpex6vPUhVDujDSpLkHDVq1FerVq16LTMzsyQzM7PRZDKRmYO8qTs59RagB41/12q1OpvNpqXf0f91Ol1LcnJyU0pKSmdf4+oDGgKFgwAEIAABnwUQsn0mxA4gAAEIQAAC3glQ0N64ceOYQ4cOzfjwww/n2Wy2CJ1O56C+47RHbnkWJjOj920tZ/CwsLARra2t6RUVFdn0c34Oj8em77kFm37Gk6B5V9rgfhaNZY+Ojq7KyMg41tXVZZYkqZPsjEajPL5decj2dBODgrXBYNBS8DYYDPbMzMztDz744I7GxkbzggULpODWQu0gAAEIQOBCAgjZuD4gAAEIQAACgyjw5z//eeb+/fuvffvtt38kSVKcXq+XQ7bScC2XTAnZ3H28O/FRq7XD4dB3dnaGUPijf7QtzTJO/yikU3ikh7LtINY0sA9NTkaj0R4eHi7Z7XY7tWCTpdFolD8r8X0P/pq6l1PINhqNTp1OZx8zZsyfn3rqqb/p9fpTubm536PjAQEIQAACqhRAyFblaUelIQABCEAgUAT+9Kc/XbJ3797r33zzzTskSYqnLsruPijoUStrWFhYdwsrt1xTyKbf0TYUEMXWbXf3r7btlJ4D1F1fvkHBLdg0xp1COH1PNyu4Sz4HbupqnpWV9dzf//739WVlZWXLly+3qs0O9YUABCAAgf8TQMjG1QABCEAAAhAYRIEXX3xx1p49eyhk/9hmsyVQgHPnIa5/TV2auQs5hUPqzkwPsYs4L+GFyc961uU1xUVHcdI40ZRuYNCDfuZwOJwGg8GRnZ393EsvvfQiQrY7Vy+2gQAEIBDcAgjZwX1+UTsIQAACEAhwAQ7ZmzZt+rHVak3gAEfF7ikQi5OX0e85HHJrNT2fWl35ew7aFAh5+wAnGZTi9RSyRS925/+TqzKLuzMsLMyenZ39/B/+8IcXKysr0ZI9KGcQB4UABCAQOAII2YFzLlASCEAAAhBQocDzzz8/68CBA9e/9dZb54Xs3lqcxZDNgVwM1dSqzd/TPnibHiYsV6F271Vmb1cnCtP8j8e9c3dy5caFMzw83JGVlfX8008/vR4hG5cVBCAAAQggZOMagAAEIAABCAyiAIXsffv2Xb9582a5u7jYku1Osbi1VezOzM8Tu5RTUETQvnDIZi/uJi76uc70znui5bq0Wq0csl988cX1oaGhZZMmTcKYbHcuXmwDAQhAIEgFELKD9MSiWhCAAAQgMDQEOGRTS7YnY7KFkCe3tPLM4vRzDoQ8uzj9v79nFxeWGZOLRuXhGc7FpcO4W3ZPZ0ccN+76HG/PJu/T9fncnZ5+7rp+uBioudVa9Ba/ppBN65pTd3Ga+Eyn0yFke3uy8DwIQAACQSKAkB0kJxLVgAAEIACBoSngS8h2HZPNM2JTd3H6mrqOWywWGWYgQjYvH0bHozKEhITIQZt+zkuJ0fc93RAQW5HFceS0LU8G5xqGL3TGxbHq3DuAAzf9n8ZT80zuPF7d0yuIl1ajtc0pZFNLNiY+81QR20MAAhAIPgGE7OA7p6gRBCAAAQgMIQFfQrbYeix2BeewLUzO1b0c1UDSiEGXW44pMFPA5YdYBw7XHMJ9mahNnKCMjkXfU5gWu4KLs4Tzzz3xEUN2Tk7Oc+vXr8fs4p4AYlsIQAACQSqAkB2kJxbVggAEIACBoSHgj5BNYZECJLcG8xrZ9D13d75QN21/SdExxHW6lSWu5HJx8OeQzaHbddw4h2FuFae6cCj3ZPkx8ZjihGW8XrjYC8Db+gsh256Tk/M8Qra3kngeBCAAgeASQMgOrvOJ2kAAAhCAwBAT8CVkU1UpNFK3cAqiFCYp2IozinOY5ADcnzx0DCoH/Z+6YnOZ6JhcDl5ijH7GY7Y5BIszfPM4cqqf1Wr1avkxcVI41/Wvuds6G4pd2N01Qsh2VwrbQQACEFCXAEK2us43agsBCEAAAgEm4EvIdm2t7WnyMW65pWp7MqbZGyYxyHPXbw7YYtm41Z1+x+OtxZArtjaLE6B5UiZx8jJ2Elv86RhcDtHIk2MgZHuihW0hAAEIqEcAIVs95xo1hQAEIACBABTwJWSL1RGDJAdW+r83Y429ZeIu4PR8cVZu167qYtgXyyd2befALu7Tk5sEHLJ5UjMK2PSPWsXpIQZub8d+I2R7e6XgeRCAAASCWwAhO7jPL2oHAQhAAAIBLuBLyOaAyl2h6Xse8yxOhCaOe/ZkXLMndNxVPTQ0VO7aLXbxFlux+fhiV24er83l5O25Gzl1h6eHJyGbt6eQTSZkQ/9otnU6Hs18zvv3Zt/Cc5w6nQ5jsj25WLAtBCAAgSAXQMgO8hOM6kEAAhCAQGAL+BKyXccZ86RhXGOe+Iy+769wzcdSgjIFTvmzBbesc3AWu4CLs4fzEmO9jc/2pdxcf9d9U1koZFMAZxtvjoOW7MB+baF0EIAABAZLACF7sORxXAhAAAIQgIBGo/FHyKbQyBN5WSwWZ2xsbH1YWFiLwWDodDqdOoLmMdKetgb3dZK0Sjp1Op16u90e3tzcHGexWMJdxzmLs3kLXbjtoaGh50JCQtqMRqOV9sU3Cmh7MRwr5XD2VR7l992fbyjQC0t16ZxOp8PpdIY4HI6Y5ubmKEmSTPx7N/fdvRlCtqdi2B4CEICAOgQQstVxnlFLCEAAAhAIUIEXX3xx1u7du5ds2rTpDpvNlsATgblTXG4t5pm4KbxaLBbHpEmT9mRlZR2Pj4+voZBN4ZXXzO5tv5Rv3Tkmb+N0OikQ034puDo7Ozsj6uvrR5aUlExraGhIMRqNcmDmruD0PG7VVtardoaHh3dOmDDhq7S0tNMRERFNtD/ajsvCS5HxUmDeji+n+jscDion3XCwNzY2JlRXV48/evRoVnt7eyyZi93r3XVAyHZXCttBAAIQUJcAQra6zjdqCwEIQAACASbgS8jm4KqEVrlmTqdTuuyyy/5y6aWXfmQ2mw/Z7XYtdY2mB3fN9ieBwWCQP0tERkYON5lMua+99tqtZrP5Ip69m0I2janmoMzHNhgMtoiIiLqZM2f+cerUqTtramrMPZWLyu5ruZWu4VoaJ073BDQazTi73X71Bx98UNDY2JiO2cX9eUVgXxCAAAQggJCNawACEIAABCAwiAL+CNk8K7cyBtlWUFDw5G233bZlyZIlJf1dNWp9ppbnDRs2jDQYDHN+9atfra6pqcmj4Mqtw9xSLHZVNxgM1oiIiOpFixatveeee7Zfcskllf1dVt7/mjVrplqt1ptff/31pXV1dVncLd3T46Ml21MxbA8BCEBAHQII2eo4z6glBCAAAQgEqICvIZuqxZN2SZJEs3rbrrjiimeKioo233TTTXu4C7aynUddwvsiU/ZNXbAdmzZtGiFJ0tyHH354tdlsnk3BtadZxbnLuF6vt0ZGRtYsXrz40VWrVn2cm5tbzoG9r+P6+vuHHnpoms1mK3rjjTeW1NfXj/Gki754bCFkO3Jycp5bv379i2VlZWXLly//fp0wPCAAAQhAQJUCCNmqPO2oNAQgAAEIBIpAf4Tsq6666pmVK1duXrZs2Z7+rKcSsumzhNOLkG2jkH355Zc/unr16m0UsvuzrOK+KWRLkkQt2RSysxCyB0oex4EABCCgDgGEbHWcZ9QSAhCAAAQCVKA/Qja1ZN922239HrKJlFufi4uLR3rYki2H7MWLF6/jluyBOkXUXdxisRQhZA+UOI4DAQhAQF0CCNnqOt+oLQQgAAEIBJhAP4Xsp4uKirZQd/GBqi6FbIvFMnft2rWraEy2G93Fu0P2/fffv23y5MkVA1VWCtldXV03v/HGG0vRkj1Q6jgOBCAAAfUIIGSr51yjphCAAAQgEIACKg7ZNCbbTC3ZCNkBeGGiSBCAAAQg4LUAQrbXdHgiBCAAAQhAwHcBlYdseeKzwQjZFotlxeuvv74MLdm+X8PYAwQgAAEInC+AkI0rAgIQgAAEIDCIAioP2YPWko2QPYgXPQ4NAQhAIMgFELKD/ASjehCAAAQgENgCKg7ZgzomGyE7sF8XKB0EIACBoSyAkD2Uzx7KDgEIQAACQ14AIRtjsof8RYwKQAACEIDAeQII2bggIAABCEAAAoMogJCNkD2Ilx8ODQEIQAAC/SCAkN0PqNglBCAAAQhAwF0BhGyEbHevFWwHAQhAAAJDQwAhe2icJ5QSAhCAAASCVMDfIdtms9kKCwsHZZ1sSZLmPvTQQ6vMZnOewWA474xptd9/5HA6nRqHw6ExGAy2iIiImvz8/EFZwstqtd68ceNGeZ1so9Ho1dVFdaEq6XQ6R05OznPr169/saysrGz58uVWr3aIJ0EAAhCAQFAIIGQHxWlEJSAAAQhAYKgKBGPIrqmpyRODK4VRCtkctO12u0av19PEZ+b8/Py1g7GEF4XsV199VQ7ZJpPJq8sHIdsrNjwJAhCAQNALIGQH/SlGBSEAAQhAIJAFELIRsgP5+kTZIAABCEDAcwGEbM/N8AwIQAACEICA3wSCKWQ7HI45v/zlL1ejJRvdxf32AsGOIAABCAxBAYTsIXjSUGQIQAACEAgegWAK2Tabbc7DDz+MkI0x2cHzAkVNIAABCHghgJDtBRqeAgEIQAACEPCXAEI2uov761rCfiAAAQhAIDAEELID4zygFBCAAAQgoFIBtYfsxYsXr1u9evW23Nzc8oG6BNasWTMVE58NlDaOAwEIQEB9AgjZ6jvnqDEEIAABCASQAEI2QnYAXY4oCgQgAAEI+EEAIdsPiNgFBCAAAQhAwFuBYAvZjzzyyKrq6mpawqv7M8aFlvBCS7a3Vw6eBwEIQAACgSqAkB2oZwblggAEIAABVQgEU8gWZhefjZCtissXlYQABCAAgR4EELJxWUAAAhCAAAQGUSCYQrYkSXMfeuihVTU1NQEfsi0WS9HGjRuX1NfXZ5lMJq+uAGqh12g0Tp1O58jJyXlu/fr1L5aVlZUtx+ziXnniSRCAAASCRQAhO1jOJOoBAQhAAAJDUmCoh2yn06nVarXO4uLikQjZCNlD8kWIQkMAAhDwswBCtp9BsTsIQAACEICAJwL+DNl2u11jt9ttBQUFz6xYsWLzTTfdtMeTsnizrdPp1FFr7qZNm0ZQyKYx2WazWW7JpvLweGzet9L6q9Hr9bbw8PCa/Pz8RwdqdnG+IbB27dppVqu16NVXX11SV1c3xmAwaLRazz8SoSXbmysGz4EABCAQ/AKev6MEvwlqCAEIQAACEBgwAV9CthBY5TBLoVaSJFt+fv7TRUVFWwYoZMufJcSQXV1dLYdsh8Mhh1cOsFRG/kchOyIioqagoGDdqlWrPh6IJbw4ZNMSXjabjUN2ltFoRMgesCseB4IABCAQ/AII2cF/jlFDCEAAAhAIYAFfQjaFap1Op6ExxRRerVars7Oz01pQUPD0j370oy3Lly8vGaiqU3dxi8Uy9+GHH76nqqoqT6fT6ahcer3+vCJQ4LZYLBqDwWCLioqqWbx48dp7773345kzZ1YMVFkfeuihKZIk3bRhw4YbGhsbs0NDQ2U/Tx9oyfZUDNtDAAIQUIcAQrY6zjNqCQEIQAACASrgS8gWq0SBz+FwUFK05ufnv7Rs2bL3Fy9evK+jo0NL//qj+hERERSYdQaDQTpw4EByXV1d3rPPPvvDysrKi61Wq567YXOXcbohQCFbkiQO2bWFhYXUtf2zjIyMShrcTeVsb28/r7h0nJ5+7m6d+PlOp9NJRv/85z8nVFZWLtuyZcuV9fX1o/V6vVc+CNnungFsBwEIQEBdAl69qaiLCLWFAAQgAAEI9J+ALyGbMil3E1e6ZVPIlnJycj5NTk4+YLPZyjQayrVaLXWJttlsvr7vi8298r5o3w6Hw67RaGJCQ0Ozv/vuu7kNDQ2ZdrtdT63YVC7qNi62FNPPDAaDPSwsrCU7O/uDuLi4I21tbfU6nY7HcTtDQkLkVnq73a612WzyCXBtFb/QWaHn0nHpufQ1PZcCNk3SptVqU20226wjR45MaWtrS6TjoiW7/65x7BkCEICA2gR8fbNVmxfqCwEIQAACEPCrgC8hm8c3U5jkccUUKvV6fWdISIglPDzcSiGVQqTBYNBSCzKNSxYqcKHPAT31n+7pZw7K2pIk6bq6ugydnZ1hGo3GGBYWJodbelD56Nj0j76mAK0EZmdYWFg7jc9WWuG5NV5DXbiVgK6l7uX0tSchm7YlH3ouh336npwcDgeVM6Srq8tIE7dRizuVy9MHWrI9FcP2EIAABNQhgJCtjvOMWkIAAhCAQIAK+BKyldZZHuPcHSbtlKy1WofBYHDQl+IEZMIs2u5+BnBrsLLS1ZtahPUU5Ln1mo4ntCTLLcv8M6W1WVJal50UdpXJ27rrwq31LjcHejqb55WTA77SNV2uqyRJ8npjSlnpDgCVV249Fydoc/dSQch2VwrbQQACEFCXgLtvsOpSQW0hAAEIQAACAyTgS8jmLtEUJLm1lrtnU/H5aw68PCba3apxwO1rew7utH/6x13YxS7YPD6byiKGfqV1XS4/tz7Tz/jYHMi51b6vsrj+nsMzPZ/3y6GftuWyemrDz6Vd6HQ6R05OznPr12OdbE/PD7aHAAQgEIwCCNnBeFZRJwhAAAIQGDICvoRs7uIsjn22Wq3ybOMcwMUWWm+6RHsCyeGZnsNBllqJu7q6aAx29z8O1kJQ7V5P2zWo0/Opi7e4rTtlomPQg57LQZr2RTbiWHYuK9bJdkcV20AAAhCAgDsCCNnuKGEbCEAAAhCAQD8J+BKyedZuCrDcUsshm4rLLdzetNK6Vre3icHEcEpfU5DlMM9LiynjxOWWaioLlZG2EQO12NpO9aEH78ub8nMXcArZvB8ek83lJB/aN4/J9nTyM3QX76cXBXYLAQhAYIgLIGQP8ROI4kMAAhCAwNAW8CVkc82Fccty2Ba7bIvdtL0Zd0zHuFD4dG0B5m7d9H+eqIzX8+Zx0vQ93yDg57vOPt7TWfWktZn3xy367MI2rmPGvemOjpA9tF97KD0EIACB/hJAyO4vWewXAhCAAAQg4IaALyFb7PZMoZFCLc3KLbbc8jhnbtl1o0g9btJXSzb9nsoghvrensNhm4Mtj7um//Ms5MoyX7z01gWDfm+BXAz8PDs5B3x6jtjN3hsXhGxv1PAcCEAAAsEvgJAd/OcYNYQABCAAgQAW8CVkU7W4dZrHOdP3PIZZbK11dxIzphIDsDt83MrMIZaCNI+Hpu7hXFbXgM1dwbl83NWc6+VpucXy8zFdJ37jGwJ+OgYmPnPnAsE2EIAABFQkgJCtopONqkIAAhCAQOAJ+CNkU63ESdDEgCyGVk9rzy3RnnTTpmOIXbXFsnm7Hw7LnpRfHK8utl73FMI92a+4LVqyvZXD8yAAAQgEtwBCdnCfX9QOAhCAAAQCXMCXkC22/nL3appsrK2tTQ7d1JLMS2ZxUPU06DKf+Lyexk9zsOfZu2myM55tnLuQ8yzfYvdw167tHNLp5+LDm/Hk4qRmvTlwubmF3ZPLBSHbEy1sCwEIQEA9AgjZ6jnXqCkEIAABCASggK8hm0OpGEI7OjqcFACVWbO1HIqFcOxUKPr8HOBGKHcqx6Zu0zTpmlZ5dE9uRmOfucs2jx2nsijrVjsoUEuS1P0818DLz/Xk9Lm2wvP3ZKLX68mHDKiw3RO0ebJ/dsc62Z6qYXsIQAACwS/Q55tr8BOghhCAAAQgAIHBE/AlZHOpXSYYs8fGxp6KjIw06/X6FuV38vu90rLMAVt+utPp7POzwIVaebVarc7pdEpOp9Ok1WrjzWZzemdnZxwl5t6epwR3h8FgsMTHx5eaTKZ6h8PRxWVRnieHdw6zvU2i1teZo32KgZsCv91uj7LZbMkNDQ1JVqs1gm4M9LWfnn6Plmxv1PAcCEAAAsEv4NWbSvCzoIYQgAAEIACBgRHwJWSLs2dz4NNqtbbLLrvsnUsvvXR3WlraKSVca3k5LX/WioI0TdLtcDhs9fX1MZWVlZPeeeedArPZPJZaiXn9bmqp5jWy6fj0vdFotEVHRzfOnj17c25u7rfx8fH1/DullVkuqlhuT+ugtKBrues5fU+TsB07diz95MmTl+7Zs2dmU1NTMpXVGxchZNtzcnKeX79+/YtlZWVly5cv/36mNzwgAAEIQECVAgjZqjztqDQEIAABCASKgC8hW6yDMubY6XA4rAUFBc/ecMMN71mt1u/6s55Go1H+HGGz2ZySJFFYnfXkk0/+uKamZqZWqzVwyKZgK47LVrqMW6Oiosxz5859/Lrrrvtcp9NVtbS0+K240dHR5+2L9k3lpbKeOXNmYmtr69J//vOf19bV1WXSht6M+UbI9tvpwo4gAAEIBJUAQnZQnU5UBgIQgAAEhpqAP0K2sF6202632woLC5+67bbbtixZsqSkvz2oO7ZWq3UWFxePdDgccx588MF7q6ur80wmk47HYtMkaNwKzbOdGwwGa0RERM3ChQvX3XfffR/PnDmzYqDKumbNmql2u33Fq6++uqyuri6L18v29PgI2Z6KYXsIQAAC6hBAyFbHeUYtIQABCEAgQAV8CdniOGUax0zdoilk5+fn/+EHP/jB5qKiot3imGsKw/5mcDqd1NXa+dprr43UaDTzH3rooXtqamouCQsLkz9j8IziVD7+mkKtwWCwhYeHmwsLC9fdc88923Jzc8s5sPu7jEo5qDz0z/nYY49N6ezsvPnVV19dSiGb1xX39LgI2Z6KYXsIQAAC6hBAyFbHeUYtIQABCEAgQAV8CdkcXJVZuuUQS+OjCwoKnlm+fPkWCtn9XW2xJVuj0cx78MEHV1VVVc2msvESXuJ4bKWMNAu5LSwsrLawsHDt6tWr5ZDd32Xl/f/617+e2tHRUfTaa68toZBNXdm9eSBke6OG50AAAhAIfgGE7OA/x6ghBCAAAQgEsIAvIVvoJk6hlVuK5ZC9YsWKzTfddNOegao6dReXJGnumjVrVldXV892naSMAimvW93V1UXdx200A3p+fv66gQ7Z1F3cYrEUvf7660vq6+sRsgfqIsFxIAABCKhEACFbJSca1YQABCAAgcAU8CVkc404wFLLsSRJFLKfXrFixZaBDNkbNmwYqdPpKGSvqq2tzaMu2GIXcWptp+AdEhKi6ezslFuyo6OjaxYvXvzoYITsrq6um994442lFLKprN4sEYaW7MB8TaFUEIAABAZbACF7sM8Ajg8BCEAAAqoW8EfI5vWkaUy2zWaTQ3ZRUdGAhmxuyX7ooYdWmc3mPHE2cQqjPHs3/V8J3NSSPWgh22q13rxx48bukO3NRYiQ7Y0angMBCEAg+AUQsoP/HKOGEIAABCAQwAL+DNkUXilkFxYWDmrIrqmpkVuyxZZ2cYksZd1sOWRTd/FVq1Z9PJBjsqm7OIVsmviMWrJNJpNXVwhCtldseBIEIACBoBdAyA76U4wKQgACEIBAIAsgZOevu//++7dNnjy535fw4usAITuQXxEoGwQgAIGhL4CQPfTPIWoAAQhAAAJDWAAhGyF7CF++KDoEIAABCPQggJCNywICEIAABCAwiAII2UERsh05OTnPrV+//sWysrKy5cuXWwfxksKhIQABCEBgkAUQsgf5BODwEIAABCCgbgGE7KAI2facnJznEbLV/VpG7SEAAQiwAEI2rgUIQAACEIDAIAogZCNkD+Llh0NDAAIQgEA/CCBk9wMqdgkBCEAAAhBwVwAhGyHb3WsF20EAAhCAwNAQQMgeGucJpYQABCAAgSAVQMhGyA7SSxvVggAEIKBaAYRs1Z56VBwCEIAABAJBQMUh2xoZGWmmdbKxhFcgXIkoAwQgAAEI+EsAIdtfktgPBCAAAQhAwAsBFYdsW2RkZE2QhGxJmfjsJcwu7sWLAE+BAAQgEGQCCNlBdkJRHQhAAAIQGFoC/gjZXGO73a6RJMl2xRVXPL1y5coty5Yt2zNQGsXFxSMlSZr7yCOPrKqurs4zGAzdh3Y6nfLXWq1W/udwODR6vd4WERExqCF748aNS+vr67OMRmOPTFRuKi8/6Guui/AEp1arRcgeqAsNx4EABCAwBAQQsofASUIRIQABCEAgeAV8CdkcAClcc3i12+22K6+88ulbbrllwEO2xWKZu27dulU1NTV5Op1OLhOFUvpHwZq+1+v18tcGg0EO2YsWLVq3atWqbTNnzqwYqLO8Zs2aqVar9WYO2SaT6bwbAhykOWTzzQHX+lBddDqd0263S9nZ2c+/9NJLaMkeqJOI40AAAhAIYAGE7AA+OSgaBCAAAQgEv4AvIZt1OAxSeKWW7Pz8/KeLioq23HTTTQPWkr1hw4aROp1u7po1a1aZzeY8CqBiKzCXlcK3zWaTQ3ZUVFTN5Zdf/ujq1au35ebmlg/U2aaQLUnSza+88srSurq6LLHVncrAoZrKSg9y5ZsFHMD5pgGFbL1eL2VlZb3wwgsvvFRRUXFy+fLl1oGqC44DAQhAAAKBJ4CQHXjnBCWCAAQgAAEVCfgjZHMwpBZtm81mKygoGNSQTS3ZHLI5aIutwV1dXXLIjomJGdSQ/eqrry49d+6cHLLFVmrXslOg5n9Go9EaGhraERIS0tjV1RXR2dkZS7k8JyfnTy+88MKLUVFRJydNmoSQraLXMKoKAQhAwFUAIRvXBAQgAAEIQGAQBXwJ2dzSyq2rkiTJIbuwsHDAQ7brmGwKqvTgFmD6XuleraGQrdPp5Jbs/Pz8QWnJpu7ir7/++tKGhobukK2MaddQ93EqN3fD53pQ0I6Pj2/IyMg4PXny5L3ffffdmKNHj17U2toaNXbs2D+99dZb661WK0L2IL6ecGgIQAACgSCAkB0IZwFlgAAEIAAB1Qr4ErI5/Lm2ZAdCyObWYQqmFFbphgCFbPq5xWKh/1ujoqLMixYtGrSQTWOyubs4lUsnHaC3AAAgAElEQVTpbq+hidBcQzaVNzk5uSIxMXFHdnb29tjY2JONjY0jzp49O/PUqVMFY8aMee+ZZ575h9PpPIGWbNW+nFFxCEAAArIAQjYuBAhAAAIQgMAgCvgSsl1n7R7M7uLckv3QQw/JE59RaOWWdioXPeh7+rkyJtsaHR1tpjHZ99xzz4CPyaaWbOouzrOL0w0A8qTeANwKT6GbHmFhYQ1xcXGnUlNTd2ZkZGz/2c9+9pXNZmu02+3RO3bsyN62bVthenr60fvuu2+XzWarzM3NtQ3iJYVDQwACEIDAIAsgZA/yCcDhIQABCEBA3QK+hGz5brlWK4dX+kdh1mKx2BYvXjxg3cWdTlrBSuukkE2ziz/88MPdIZtahHmsM3e9pnJSkDWZTNaYmBjzwoULBy1kU0s2dRcPCQmRL0JuveaJ5GhSM41GY09PT987b968f0+YMOGtK6644kxGRoZFaahwHjp0yDh69Oj4trY2R0tLS2dWVlabVqv9Pp3jAQEIQAACqhRAyFblaUelIQABCEAgUAR8Ddni8ljCOtnPFBUVbR6I2cWdTidNwe3ctGnTCKfTOZdasquqqvLIl8dg8w0AcRZ0vV5vDQ8Pl8dk33fffR8PxOzifEOAl/DasGHD0sbGRjlkU/DnJcboa6U7e31WVtanSUlJ21NTU78cM2ZM1T333NNJE44LvQG1p0+fNkqS5MzKyqImezvddAiU6wvlgAAEIACBgRdAyB54cxwRAhCAAAQg0C3gS8jmmbspFNJDGf9Ms4s/ddttt2254YYb9vY3NQdXWsLLZDJdtmbNmtXV1dUUsrUUqnksNne95nIqIbt68eLF61avXr19INbJ5rKuW7duisViWfHKK68sq6+vz6YWd+7SrtfrHaGhoa2RkZFliYmJ+2bNmvXhlClTSn784x+fpvBM++BWbLZFqO7vqwz7hwAEIDC0BBCyh9b5QmkhAAEIQCDIBHwJ2by+M7fCKt2dqbv4k7feeus/4+PjDwwU16lTp1I0Gk3eb3/729W0TjYFUQ6uVE4eP07loa9pKayoqKjq+fPnr73zzjs/lSSpaqDK+sUXX0zu6uq6cePGjTfQxGd6vZ66vNNNCmqh7ho9enTp2LFj31+9evUmh8NRumDBgjal3Byw5W/FkK2Eb2oNRyv2QJ1IHAcCEIBAgAogZAfoiUGxIAABCEBAHQK+hGwh5MktxtRluaury5qfn7/xmmuu+TQzM/Mob0OttTThmL8elEodDofObrdrjUaj/ezZswk1NTXTX3rppRvNZvNUk8mk4xZ2nlSMl/OiMtASXqGhoXVXXXXVX/Lz83fTcl4mk0n+XCKWlcpM3xsMBqc35afn0qOzs5NCvzYyMtKxe/fu7OPHjxe89957C5uamkZRd3G6IRAbG3t2zJgx+xITE9/NzMzcs2zZsjKDwdA5Y8YM6gZOg8/FlmwqKwVq+ef+csV+IAABCEBg6AsgZA/9c4gaQAACEIDAEBbwJWTzGGdqhaV/drvdabVaJQqK8fHxZQ6H45zYTdvPTJSz5ZZdp9Pp0Gq14UajccTRo0entLW1pRiNRh0fm24AcMAWWrTtBoOhY/To0bsjIyPLrVZrK+2PZySnsrqUXQ6ywqRk8u/FGdaV8H5eNSk8K7OFayVJov1Tg3WCxWIZe/r06TEWiyU6NDTURktyJSUl7ZowYcIn48eP/2rFihVVqampXcLYa9eQTWPRqeWbyiUHboRtP19h2B0EIACBISqAkD1ETxyKDQEIQAACwSHgS8jmcM3hk0On0+m0OxwOCr86sfXYUzHXACs+X+z+rYRbp9FolKca/37S8++DPz94e9fyOBwOp1JueQx3Xw8OzRTG6XlcZwrS4vH499T6bTKZ5N9Zrdbu2djpe4PB4DCZTJ3h4eHn5syZszkvL++9++677wuavEwox3kBuri4WF9ZWWkqLS0NHT58uO2aa66hmcY11NqNWcX7Onv4PQQgAAF1CCBkq+M8o5YQgAAEIBCgAr6E7N6qRH2aleDdr+/zPQTt7iKJgbencM5Lj4kt3BcK2a6TvPGEavxzXuNabOmm41Io5yXOKIhTF3bmiYuLq09KSto7ffr092JjY78aOXLkqZ///OfNSnnFxN/dSr158+b0ioqKyTt27JiZnJxcWlRUtCs5OflMVlaWlZ6H1uwAfaGhWBCAAAQGUKBf33wHsB44FAQgAAEIQGBICvRHyB4MCNeA3FfI5uDbV0u764RpvO62EmjlAK10le/uXs5jwLk13XVmc5PJ1E5rdA8bNmxnRkbGZ3fcccfnBoPhbH5+Pi3PJe9amNiMwrZu06ZNYWVlZaN3796dV1NTM6eurm5CVFRU+ahRo76aPn36jqysrJMrVqyoR8gejKsPx4QABCAQWAII2YF1PlAaCEAAAqoU4JmZefzro48+qlm7dm3ffYcHWOvRRx/Vrl27lo7qt/G3/RGyewu4/cXVUwt0b63SYtl6K6fYOs1l5m7h1PVbWapM/j8HabEFm2YzF2c2p9Zr/mc0GjuHDRt2Zvz48bsnTZq08Wc/+1lJWlpag7Letxiw5etv06ZNusbGxsjKyspRTU1NV3755ZdXHD9+/BKLxWKKioqyJCUlnb7ssss2JSYmbouNjT0wevTojhtvvJHGqAfc9dtf5x/7hQAEIACB8wUQsnFFQAACEIDAoAoo4cZkNpv1Op1Ofl+icbpJSUnyzM29Fa66unrA38OofHq9XpeQkEBdgyWtViuO3fXKsT9Cdk8FcWe8s1cVEJ7kGprFY17od67H7WksN4dpXtOaQ7cYyPlrDtjifnU6nTxmPDs7+8v09PRtCQkJ/05NTa148MEHW5Qx2Hw9yS3XdBlu2rRJO3HixJi//OUvs0tLS6/87rvv5rS1tY2y2WxRdN3SGGyDwdBlNBrN2dnZX8ybN++j3Nzcj5csWdJI1wcmRPP1isLzIQABCAxNgQH/gDI0mVBqCEAAAhDoDwFqwX7ggQcSHQ5H7unTp+Obm5tphmo5WFNLoCetgUJruNtF9WT/tFM6hiRJ+tzc3EN5eXll11xzzVm3D9bLhgMVsn0tZ2/Pv1CQVszkp/bVfVzc/4Va4sXu4uKs5eIxeBw2lU1ZAqwrOjq6etSoUYfS09O3jhs37qt169YdVIIwzw7ORaAZwzUnTpyI3LlzZ/Lbb789u7Kycl5DQ0NeQ0NDuiRJofR7nlhNOZZj2LBhp5OSkg7Ex8dvz8rK2v3zn/+8NDMzk9bXRqt2f1182C8EIACBABVAyA7QE4NiQQACEFCDALUG3nnnnZNsNtu9ZWVl45qbm+NpPWR5bSit1qnX6x0UlNxYhsqX97MLdesVWzcpZOtsNpv+kksueXPBggUfrlixYpev58mXkN1T67Q73bF9LbPr871pJRe7eYv7c53RXGyppuuAun2LE5nxDOM8kRqPz1aWAnPY7XYbLRGWlpa26957792s0+n2rFy5slpprRbPL4/Ddrz66qthZrN5THV19azPPvvsprNnz05pbGxMCAsLkydN4xnO+djcPd1gMLSlp6cfS09Pf3v27NkfDRs27LhGo+m46667qNcDuo/7+8LD/iAAAQgEqIAvH0oCtEooFgQgAAEIDBUBCq3XXnvtDJvNtubIkSNTGhoahlNLttIq3b0uciDVh9L/vHnzXr7qqqs233nnnZ/4WjZfQnZPx3Znhm5fy9xTKKafubZA99TtW3xub78Xg7brPinYcsimsMs3YCjo0oO+p9Zr+n94eHhLenp6eXp6+ubx48d/MmXKlO+MRmPXjTfeaBPWv6an0bUmt2Bv2rQpxGw2z37vvfcKDx06VNjc3Jxqt9uj9Hq9gY5Lx6Sgz5Or0XOUdbjpS7tOp+uKjY09PWrUqF0/+MEP3szIyPj2qquuqhF7WiBw+/MKxL4gAAEIBJ4AQnbgnROUCAIQgIBqBChkX3XVVRd3dnb++siRI9MaGxspZHevfTzQE3j1Bc+t6gsWLPjr1VdfXbxq1aptHJ68DU4DGbJ7CsJ91flCv3dnRnGxe7e7x+qpC7o43ppnFKcwzS3YFLLpe25ljo2NPZOQkPBdWlra5+PGjfty9erVR9PT0xuVOQBozDU/5Js5tPb13/72t7TKysophw8fzq+urp7Z0NAwTpIko06n0/HyX3w8cUw4/UxYo1wTEhLSERkZWZWSkrI7PT39kxkzZnydmZlZqoR7LPPl7oWA7SAAAQgMUQGE7CF64lBsCEAAAsEgQIGnoKDgYovF8uvjx49Pa2pqGk5hiZd14i7FgRK2KcBZLBbNokWL/nLNNddsCoSQ3dOEYhT4venCfaFryo2Jy+Ru/tRC3NexXWYPlye4U54rF+FC4Z27i9N23KJMAZj2abVaaT/W6Ojo5nHjxu2YNm3a1ptvvvn9iy++uFGr1VqUfctl5LqWlJTo6+vrTSUlJWlHjx69rLa29up9+/bltbW1JVKYp+uRx193dXVpaHZz+keBnmc05y7k3MquzHruDA0NlbKzsz+dOHHiB/Hx8e/Fx8fXzpo1q33+/Pl2b2/KBMPrHnWAAAQgEOwCCNnBfoZRPwhAAAIBLEAh+/rrr7+4vb3914cPH57a1NSURC3ZHLJ5iaZAqQKHqQULFrxEIfuee+75OFBasjm4KjcmaGZr6v5MoZNmwZZDqBtj290eNywEagr08uReDoeDAraRxju7rn/tUj4+pXIoppm/yZH3qYTh88rCLeIUbin4Kt3D5W3sdrvWarXqwsPDrQkJCadnzZq1NTw8/IPU1NT9+fn5TTNmzKBZ4HnW8PNmrT9w4EBMdXX16BdffPGGY8eOzauurp7ocDgiHQ6HgepAAZ5bzinU04O/5zHZ3F2cbw4I3d2dBoOhNTY29tRll1322ZgxY9790Y9+VDJq1Kgm4ZqWx4IjdAfKqxzlgAAEIOC7AEK274bYAwQgAAEIeCnAIbu1tfXXR48elUM2j7elXXIoDJSWbF6fedGiRS9dd911m+666y6/hezi4uI7JElK4LHFnpByiFbGCzsyMjIOxMXFnbRYLGZadkzx4+XR5F17Gup6OAfdnyEoZOt0OpoZfkRpaemU1tbWFIPBIP++p/HVys0Tu8lk6khLS9sbERFRYbVaW8U699SaLcwWzmOi5WRO4d5isWhDQ0O74uLizs6bN293eHj48Z/+9Ke1XE/lZkh3oF23bp1u8uTJaR9++OFFR44cmV9TU5PX1NQ0pq2tLY7OAYd6thXrovh13wxSJlmTi+9abqpraGhoW1JSUkVsbOyXKSkpn99+++1fJCUlnZsxY0an0KqOoO3JRY9tIQABCASwAEJ2AJ8cFA0CEIBAsAuIY7KPHz8+tbGxMYlCCrVm8yzRgRKwOfRTa+bll1/+l+uuu67YHyH7+eefn7Vv374lb7311h02m82rkE1lo6BHZevq6pIKCws3LF26dOu0adO+s9lsWl5/XLyeaC3yvq4v6hbND9d90H7pdzRRXVdXl7OiomJ4VVVV7jPPPLOiurp6WkhISPe4Z+5WzYHVarVSeWnW77prr72WLHcmJSWdpeZsml1eLBdtK5ZD/F7ZjzIZvZbWMKc1q1snTpx4rqelszhov/TSS6EnT54cZrFY5n777bf5x48fL2xpaYmVJCmEx1yL4bq3gN2XH/+ex/InJCRUp6Sk7Lnkkks2RUdH78/IyCi//fbb23k7ul/g7j6xHQQgAAEIBK4AQnbgnhuUDAIQgEDQC4jdxY8cOSKHbG7J5WDiGnYGE4Vaiqm78sKFC+WQ7Y/u4n/84x9nffvtt0veeeedO7q6uhI8uakgdk/m2a4lSbItXrz4qVtuueXt6dOnfzNQXl999dUIi8Uy57e//e3dtbW1l4hj64UQKd88IUOTyWSLi4szL1y48DcrV678ZMSIEeW+lLWyslKbmJjomDhxIgVV6h4uP8QWeyVkm5588snx9fX1he++++4VtbW1EywWS6zdbtd/v/n3Xev9HbLpXBkMBik8PLw5Jiamatq0aVsWLly49c4776Rl4LgLO7qO+3IR4LkQgAAEAkQAITtATgSKAQEIQECNAk6nU3/ttdfS7OKP0phsCtncainO3hwoNrw8FE18tmTJEr+0ZFPIPnDgwJJ//etfd1it1gSx67E79eabETw5l8PhsBUWFlLI3nLDDTfspX0o4537bLl253jiNuJ49I0bN6ZqNJr5a9euvbempuaSnurBwVWZsMwWFRVlvvzyy9etXr16W25urk8hu4dynRdYDx48aIqJiYl8/PHHLzl27Nic6urqhTU1NWM6OzvjlDWzewzXnppcaHulRd9uNBotsbGxh1NSUr6+9NJLt6WkpHx79dVXV2dlZVldbwz48/jYFwQgAAEIDIwAQvbAOOMoEIAABCDQg4CyTvZMMWRzV3HanFqOPWnZ7W9kCtlKd3FxTDZ1i/Z6PC11F9+7d++SLVu2eNVdXGzxV8aM26688so//PCHP9y8ZMmS3f25PrM4zvnll19ONRqNC9atW3d3VVWVHLJdW4PFseNarVYKCwsz5+fnr7v77ru3XXrppWf8dTPAdfz1u+++G37w4MHk6urqnKNHjy49c+bMnDNnzoxTAq182XB5xZ/583ri4Q/CZGmOYcOGVV500UU7Y2Nj3x01atSeRYsWVcyfP9+m1Wq7W+L9WQbsCwIQgAAEBkYAIXtgnHEUCEAAAhDoRWDRokUXa7Xax2id7IaGBnniM554ikJ2ID2oPDQO+PLLL3/p2muvlWcX97Z8HCh5nWxvJj7j1mJeOkqZ+Mx2xRVXPLNixYoty5cv3+1t+dx9HteDWrKdTue8NWvW3FtdXT2bJ7Dj/4sToNGNCqPRKHFL9o9//GM5ZLt7TE+3e//99ye8/fbbC3bt2rWioqIis6OjI16n05l4VnByE0N2T/vnceWeHru37el4TqdTkiSpa9y4cfvGjx//4SOPPPJGe3t7bW5uboe/joP9QAACEIDAwAsgZA+8OY4IAQhAIKgFqHX63Llz4e3t7YaOjg5aVql7Midx8qzo6GhnVVWV7oknnrjozJkzD5WWlk5qaGhIJBxqzaYAxF3GAwVMWSfbuXDhwg3XXXfd21ddddVnYp2am5s1UVFRcrds+jlNLhYRESElJiZ2iq2TYosth+x//OMfd9jt9gSqu7sPcZks7i5OY7ILCwspZG++6aab9ri7L1+3Ky4uHmm1Wilkr6qpqTkvZNO+xZniyVEM2ffee+9Wf3YXp+PRdfjyyy/HNzU1TXj//fcvr6ysvLSpqWlaW1tbpN1uN4oziHPdXdbvPm+mcF97VIhrv/O8Azz8gCaAi4mJOZaWlrZz+vTpO+bOnfvd9ddfX+Hr8nC+nlM8HwIQgAAEvBNAyPbODc+CAAQgAIFeBIqLi8Oam5uzS0tLEysrKyN1Op1EYZOWWdLr9fJySxwyDAaDjrrwVldX31xVVTW6ra0thmd35lZa1yWRBhNeCUWOadOmbR07duyXDofjGwrTHJp5ki0KkXa7XRcfH9+ZlZVVHx0dXXr77be30e9du0RzyH7zzTflJbw8CdniTQi+KUEhOz8//+mioqItAx2yJUmau2bNmtViyObzxb0SeL1uCtmRkZHmRYsWrfXnmGwK1yUlJfp///vfSZWVlVM6OjoKdu3ataCuri5bkqTQnrqwu15TPax37ZfLjtd9p3NMHnwcZcb0zsTExLqsrKwPsrKyaCK4naNGjWq49dZb6QYNZh33yxnATiAAAQgMjABC9sA44ygQgAAEVCPw05/+NCkkJOSWAwcO0LjXTK1Wa6NZmylcK62Z8gzOFE5DQkK0Npst7Ny5c8kWiyVUo9EYQkJC5C7ZgbZGtngCY2NjG8LCwpp1Ol0rjxunpax4bWXqDi1Jkp6WpZo6deqe+Pj4vz/22GOnegpLHLI3b94sT3zGXZjduWC4izOHNeUmAHUXf5omPlu2bNmAtmRTyP7Vr34lh2zX9aU5YHKLO820HRERQbOLr73rrru2zZkzxy8TnzmdTmNlZWXUU089teTgwYPXfPPNNwva29vD7Ha7gW7yiF3syZpDv6vlhfw97TpOx6Bj0XWhzDIuz7DOXyvjtZ0Wi8URExPTnJGRUbJs2bJ3EhMTP7zjjjtO0/h1d64HbAMBCEAAAoEhgJAdGOcBpYAABCAQNAIrV64cqdVq79u3b9/l5eXlOTqdzkEBw2WdZWrS5YCjt1gsJofDoaNtqJWPQjaFVw5BgYaj1+tter1eoi7gXA+dTid3E1cmtpJvKiQlJZVPnTr1P9HR0c/85S9/OcYhW+wGzOtkU8imdbI9Cdmu3ZuVJcZo4rOnV65cOaAhe8OGDSN1Ot3cdevWraqurs5znV2cnbjF3WAw2CIiImqpJZvGZPsjZB85ciT+zTffHLtr16755eXlcxobGye3tbWNkCRJ/rxDN3CUyeHk//N4cfH66qnnRE/dyD3pPi5O+EbHUsZjy4fl33HXcb1eb6fu48OHDz+ZlJT0yahRo75Yu3btnlGjRrUibAfaXwKUBwIQgEDPAgjZuDIgAAEIQMCvAkuXLk3VarUP7N+/P59mcObx1RyYeWwqz4pN/xdnoqbQQS1+9PAkcPq1En3sjLtpi2UXx0fT1xR4k5OTz0yePPnL8PDw3xYXFx91CdnUou9QZhe/fsuWLT+mkM1d6T2pDwdDDtnUkj3Q3cU5ZK9du5bGZMshW5zsjAMl/ZzKSSFb6S6+zteQXVxcbDp37twwWmv95MmTc8vLy6+urq5O7+joiKEl4ThQky3P7s0t666hVzyPva2V7WlLNp9L0cM1uPM23K3eYDDYR44ceSQlJWXH2LFj3x8zZszhvLy82ry8vE5Prg1sCwEIQAACAy+AkD3w5jgiBCAAgaAWoJBtMBjuP3DgQEFFRcV4HmPMoVoMW/S1GFg4nHL3WgrZ4tjVwYbj8eJcJg5hXG7xRgJ1B05KSjo9ZcqUL8LDw3/3j3/8o7slW6wHdRffs2fP9cXFxR6HbLE1lZeIslqtcndxml18IMdkiy3ZFwrZVE6yod4AFLJpCa+77rrrY19mF//zn/88XK/Xz9mwYcPykydPUgs2rTd+XvdwOkfK+tzdPST4PPZ2s8SfIdv1GK7rwPOxuPu6ErbtcXFx5oyMjINz5sx55Yorrtg5b968U4P9OsDxIQABCEDgwgII2bhCIAABCEDArwJFRUWpDofj/5WUlBSUl5eP41mcOVBzyObxy3xw/l5s7ePxu34toA87E7v28s0BLje3lnI9KdAlJyefnjp16hehoaG9hmylu/j1b731lschmy35/3RMm81mKygoGLSWbO4uzjck+OaKOJs3t2SHh4fXFhYWyi3Z7oZsmtiM7s08+uij2qKiIuPf/va3KaWlpXMOHTpU0NzcPK6joyPZarWaxK7grudIbEUWu4eLZeafi2O1xRs+vK14HbveMBLPj+vvXFv5XV8HQnf2LpPJ1JSQkPBdZmbmZ8uWLfvYZDIdKSoqou7j8hAFPCAAAQhAILAEELID63ygNBCAAASGvACFbLvd/sC+ffvk7uIUrjyZVCrQAcSbAWJLtmuIotbalJSUfg/ZYpDjkF1YWDgoIdvpdM79zW9+I4/JJg9q2eeQzT0aqIzkRt3Fw8PDzQUFBY/S7OIXXXTRBdfJVsax0+cW7enTp43/+te/Yo4cOZJ59uzZ/KqqqkWlpaUXOxyOEHlWPWWss7fXEodw7lIu3lzhfQpj8eU69hSaxZ+JYd6dcvH+lTHktBRc5/Dhw78bO3bsJzExMdszMjKOrFu3rlaj0dgRtt0RxTYQgAAEBk4AIXvgrHEkCEAAAqoQQMj+vgu8WkP2448/LodscXkxbvXlyb3oxovRaLSGhYVVFxQU/MbNkE0t2PTPfvz48fh33nln2tdff73ywIEDedXV1aO/n09MJwd4bx5UJroB0NXVpQkNDZX3o9y0oBsCGhrbLXbp5tnB6VhirwYeiy4Oj6BtXCeCc6eMPPkfTwYoSZJdr9c3z58//6OJEydueeCBBz5KSEjoENdgd2e/2AYCEIAABPpXwLt3ov4tE/YOAQhAAAJDWAAhW70hm2YXf+SRR1bV1tbm8YRjdClTSKXAyC3DFF7DwsJa4uPjy+bPn/+7n/zkJ1/k5uZW93bZcyv21q1bwzo7O9Nffvnl+SdPnlzY1NQ0vaOjI8lms0WI66rzsmqeBG6ekI3CM81CzmGZJyJzHbrAY6zF44rjrMXx3J62YnNXd4vFIgd4+p57BTidTltUVFR1YmLi/pycnC9mzpy5feHChadyc3Obh/CfDRQdAhCAQFAJIGQH1elEZSAAAQgMvgBCtjpDdnFx8UiHwzHnl7/8Ja2Tnec6TIC7iev1eqfRaGyOjo4+kZqa+vX06dPfWLly5aHeQqISsPXr168fVlpamllRUTHn2LFji2pra3NbWlpitVqtXpyF3tNAK75iehqHLf5eHJMttpqLrdcc8DkYiy367r46OWTTUnZit3S+aUA3AmJiYupSUlKOjRgx4oP09PSdV1999cGwsLDGBQsWYE1td6GxHQQgAIF+EkDI7idY7BYCEICAWgUQstUdsh977LHVFRUVee3t7ZqoqCj5ZdDW1iZ3taYwbDAYpKysrIPjxo1799e//vUbsbGxFYmJie29jStWQnbI888/n/fNN99c8+GHHy5ta2tLdjqd8uRmvO41BU96UNfqsLAwubs+t0K781oUu2bT13RTQJyNXFySjPZHdaFj0D8O1Nwazt3j6XvaB5XR0+XoOFzT8+gfdWPn49L/ab/Uqp2SklI7YcKEd++99943rVZryXXXXdfqTn2xDQQgAAEI9J8AQnb/2WLPEIAABFQpIM4urvaJz2h28WnTpn0RGRn5+MaNG7vXyRYvDF9nF6d9cQvnYE98ptVq5zz66KOraUw2lWQkH3QAACAASURBVIvX/KZyUbiOi4s7O2bMmP2xsbEfjhw5cve99957YuzYsbTus0Mx6Z4tm0L33r17w0tKSlL2798/b//+/QvOnj17SUdHxwir1RrqcDh0vO41BVLuki5OuObtC9B1EjOx27ndbnc6HA4HtcgTPc12TpOtiZP78URo4lhtb8oiTrLHXe3FsO+kOxBabVdERMTZxMTE7/Ly8j7KzMzc+Ytf/OIo5XAy/H4TzELujT+eAwEIQMBbAYRsb+XwPAhAAAIQ6FGAQrYkSf9v//79NLv4eDXPLk4hm9bJjo6OVk3IXrNmzWqz2SyPyVZCpt1gMFjj4uJOpqSk7Jk1a9b2MWPGfHX33Xef1Wq1FqWlWr5XIARt3ZdffhldXFycXV5efnFtbS2tuT6tvr4+jcdAu874TS3YPNkYtUR7Ogkar0/NIZ3KwiGZQzNNMBYWFtYQGRlZq9Ppmh0OR5TFYhne1tY2zG63G+k54ozqvoRsMWDzuGwuE99YoW2oS7lOp7OHh4c3Z2Zm7k1OTt6enp7++dSpU49PmzatdcaMGXL3cQRt/MGGAAQgMHACCNkDZ40jQQACEFCFAEL2/3UXV1PI5jHZv/jFL+SQTZOHORwOGn/dGR4eXj937tzX586d+/5PfvKT/1DLdU+trBS4af3rzMzMsJiYmPGvvPLK9cePH7/+9OnTYyRJCuUZvynAU6hWukzLrysKovRzCtfUtVqceMydFx6HbGoxptnFKajTxGNCeKcyd44bN+5AQUHBztTU1OMHDx7MOHjw4MzDhw/ntre3R1MDN9VbDMjuHNt1Gy67sNyZHN6pbPwzcU1v7jJPZR49evSRGTNmfDpr1qyXJ02adGL+/Pktyg0M2dyb8uA5EIAABCDgmQBCtmde2BoCEIAABPoQQMhWd8imic+qqqryKAQOHz68Zvjw4fvGjRv3fnJy8u4pU6aUrVy5slG5hOgzCIU+6s8shz8K2X/9618zjh8/nrtjx46r6urqpre2to5ub28Pp9nNKGhSyKSHuCyYuEa5GD49mQSNW8g5yPI4a2opDgkJ6YqNjTXn5OR8nJyc/Bl1eU9ISGg9efJkZFVV1eiOjo7FR48enWs2myfZ7Xa9Tif3IJfHa1NI57Ha3vzxoOdSbxC6ccAt2nQzgRyobLx/bsU3Go1t4eHhZ0eOHLl30qRJW+++++4vw8LCKidOnMgt2tw135vi4DkQgAAEIOCGAEK2G0jYBAIQgAAE3BdAyD4/ZE+dOvXzqKioJ4J9TDa1ZFssFnkJr7q6uqnDhg2rSUxM/CojI+OzBx988JOGhgZzfn5+hxCw+TMIhT7dO++8E75z587M48ePz66trV1w6tSpS9rb25PsdnsIBV8OvfR8Xg7MdVZxcbIw7uLt7pXL467pedxabDQa7aGhoc1RUVHHk5KS9i5YsOCjKVOmfHvjjTdWarVaB43Hfv3112PKy8unbt++/fIzZ87MbWlpGd/Z2RktSZKJx4pzy7a7ZVFuOHR3eedu4fRzCtx8s0EM8fQ7btHW6XTUPb8uMTHx6zFjxnw6bdq0L1NTUyvoBgeV25NyYFsIQAACEPBcACHbczM8AwIQgAAELiCAkH1eyD41derULwYyZEuSZCsoKHi6qKhoy0033bRnoC7WDRs2jNRqtfN+9atf/cRmsyUXFBTsGDly5Ov33XffvsTERHnGa17vWmnBph/pNm3apImMjIwoLS0ddeTIkRv27NlTeOLEiYu7urp03IpLIZOXz+L1t3mpLA7a4jhssUu1J/Xn5baodZgmN9Nqte0TJ048OH78+Hfuvvvuf9pstvK8vLzOniYTe+utt7K//vrruZ9++ukPz5w5M7alpSU+JCREz/v0dHZxKjeHc56dXGxtF8d78w0F3o5DeUhISEdiYuKJK6+8clNycvJHFovlO41GY127dq3ccwDdxz25OrAtBCAAAfcF/j/2vgSsySttmyRkB8KSAGEJi2HHlborYt2VtnbRqV387F7b+abt336dmXY61VmqdqYzU9urna7T1lotWm2ttVVRQEEQ2URRlJ0Ewr6GkD3/97x9H75jCgoKCnpyXV4Jyfu+55z7nMT3Ps/93A8l2YPHih5JEaAIUAQoAoNAAEl2QUHBEnAXB8ICBANzXpFsQL4r1gMmTaegCdKVGskG6d4MJIo0tiLlwiT5QgktXIMlTgxZQ7IyVGMqwgCrz2SLLNeEJaOQ5Pj5+VWBu7hYLN68c+fOC/1FEa/FXRxJGOLBElnLokWL3lq1atWehx566LqR7B07dgS4uLjMSk1NndrR0dETHBy8z9fXVzNz5sxOqN1MGJz1kTuHw8E7f/6873vvvTf9/PnzSy9cuDDTYDCobDabJ8rCsUwXuQ7IeSDJKL5GYgv4wFoiSSjmO2N5LVwD6FQO0WGw5Pb19a2Ojo7O9fPz+yE0NLTgvvvuAxO73oEiwV988YW0rq7Or6amZuKZM2eW63S6eTqdLgyWM5bhwo0CnDd4hs/wffyeDBSFJ6Pt5FdxoPch6O/q6mqQSqW68PDw9ClTphxOTk5OW7BgQReHw/m55hl9UAQoAhQBisCwI0BJ9rBDSi9IEaAIUARubQSwTnZ+fv7i6urqaIg8Inkg6xaTubVo6gTkCP4BIUaTK5IQk87NSCzIGsSYs4pEiiQrLJmB8ksMF3Mu0zTYWSMJPfvawfaR+T8VNw4MBoMLkOzJkyePGMnGck5IstlNBcvChQv/8eCDD35zvSLZQKC//fZbmYuLy7iamhpvk8nU+fLLLxewpbn6cq5JjA8cOOBRVVUVeOTIkekajWZea2vr3Obm5gC73S7GjRhnMj3YOXI+DtcKGe3G9YVEl10XNh6PZ5TJZBeVSmX29OnTj0ZEROStWLGiMTQ01HSlyG9eXh5fJpN5/vWvf51RVVWVpNPp5ra2toYbjUZvJkmbNWjDdUKSYzJ/HN+/mvHidfC7whJ4h7+/f3lwcPApmUx2SKVSFTz99NNVcXFxA9Ynv5q26TkUAYoARYAi8DMClGTTlUARoAhQBCgCw4oASbLJSDY0Ajf8UGfY4XDYhEKh2WKxMHV8scwXfA6RRCTlcA5GGMHkCY/DKDYcCwRTLBYDeebZbDZXgUDAg//fkNAjSWclxGYul2uxWq1XTbIRLCRnQJ6gXavVyocNBYzC6/X6ESfZuJnA/IfO4TBYmEwmy9KlS/+xbt26b+69994Rj2QTEnC4pwDsbYR7OJftW18eMOsgLpRKpZEdHR2J33333aq6urp4KIMlFosvUTyQmy74erCLFddNb29vn+s4qWKA62CuN2zqGAwGG5iG+fj41C9cuPDrWbNm/fTII48Afkw97KE4dGs0GvH+/fthw+Guffv2LYOcbZvNJmb07+wGD6wVNEfDaDuscdwoGoq8vL8NI1JaDqoRcD13d3fvCggIOB8aGrpz4cKFh7y9vatAPr5q1SrqPD7YhUWPowhQBCgCg0CAkuxBgEQPoQhQBCgCFIHBI4Aku6CggIlko/sxkmyxWNzj7e1dHx0dnQf1k8krO5MF+JssXUQSD3BwRjk4vN/Y2Bik0+mi2tra5BaLRUiSYczpVSqVZWq1+oJQKOzgcrk/21T//BjS/4dgeIXksbOz01+r1YZqNBo1n8/n8ng85lpA7kZaLg4kESXRSNh6e3stycnJ/1i7du2Ik2wngg3DZtzCWUwBIyTX6CTOTU9PFx87dmzu8ePHF124cGFhd3d3oNVqdQdFP84/5mLDpgFspEBJLVL6P/jVyE7uz0HkPgJPpgkA8bZarXZfX99GpVKZM2nSpAN+fn4ng4KCap988kmQVfc5n18pks0A4HBAY9z33ntP3Nzc7FteXj5Pq9UuKCsrm9/R0eFtsVhESLBxTAMpNwY7Tox8o7Qe5fK4GUXI1K08Hs/g4+NzITQ0NGft2rXf+/r6nlm+fHkjiw8t8TVY0OlxFAGKAEXgMggM6aaCIkkRoAhQBCgCFIErITAQyQZCATf7CoWiKSAgIH/WrFmfe3l5dXO5XAeQKYw8OzlGQ6CYufEnpebwN5Bs7At4VJWWlt6m0WiWl5aWxphMJndnyTG0r1arDyYnJ//A5XI1fD7fdKWx9Pe5xWLhQNsod+/u7o4/depU4pkzZ5ZAt6DDSHiBZIPx2UjlZDtvSrCEESLZf1+7du2e++67L+9qxjjYcwiSjSSWIdX9GJxxdDqd6F//+ldwRUXFRJ1Ot6ihoWF6U1NTtMPhcAX+i5FXbNtZSj1UCTUpm2al4JfUr8aIsUAg6HZ3d6/z9/fPCg8Pz3jqqacy+Xx+w8yZM42DIdXOWGHuOdYB//DDD8MLCgoml5SU3F5XVze1q6tLbTQaZbBm2XXMbCTBg0x9wD4PZi4QG8z1JmX2ZFoFkm+RSKR3d3evDQkJgc2Eo+PHj8/7/e9/X+Hi4mK9mjEPpo/0GIoARYAicCshQEn2rTTbdKwUAYoAReA6IHA5kg3ENDg4uFqlUh0MDAx89fPPP28brpv6Bx98cJler3/6+PHjs41Gow9EC5GcswTdoVarP37//fffM5vNpfPnzzdeKxwQ0d6xY8fc//znP/fn5OQ8abPZuBglhWcg2RMmTBgxko0ECnBFUgZy+Ntvv/1fd9999z6NRlM81DH29vZyQH6P58Hf8NpkMnE8PT3tSqXS+uSTTwJ2TK416bTdn+s2YJSeni4oKSlRZWZmzqurq1t97ty5yT09PT5ALlHWjbn45JxBhJeVcjPdGYqEmhw3mZuPeex2u93B5/N7fX19y6ZNm5YZExOT8uCDDxaHhYV1DGDSxmz4sHJ3nsPhEBmNRni2L1u2rDcpKcnGfg4R/Evy0HNycjwMBkPE1q1b7y0vL1+g0WhiTSaTCLIh0C0d+0ga+g117sgNCiTczpsW7Fwy7ulisdgcFxd3BKL3AQEB36tUqraHH354QHO3q+0PPY8iQBGgCNxqCFCSfavNOB0vRYAiQBEYYQRIko052XjDD9LfgICAmuDg4IMTJ078w9atW1uHq27vAw88sLyzs/OZrKysmb29vd5A3kjDK2g7IiLikw8++OA9m812bjhIdkpKCs9isSR+8sknazIzM5/AnHGUpwPJHj9+/IiRbIz+ohyYnVpbQkLCT5MmTYLSWRoghUga+1MLkMsBoqvs8QxJZHPjOWazmWcwGPigPGAdw0+NHz++m8Ph/MI1nIzkwrVPnDjh3draqn733XfvqaqqAnOzWKvVKrXb7Xz4HHKFES+sf01GoTFfGaOwg12+SMhh3sncdRYz4JimuLi49LCwsEN+fn4H/fz8GmbMmNENTuj9tYEbCA6Hg//pp58qqqurk0wmk9zhcHRNnDgxdfr06c1qtRrSHzB/Gy7D5DqDizrI5I8ePRpWXl4+vaGhYeW5c+cmdXV1KXk8HhfH6Ox8P9ix4nGkDwEan6EknVQGoAcb9I3L5XZ4enqWTZ06NTMyMvKHp556qigkJKQdromKhOH6jg51PPR4igBFgCIwVhGgJHuszhztN0WAIkARGKUIAMl2OBz/g+7imG8KJAkirkiyY2NjX3v//fdbhusG/n+dtFfo9fpnTpw4McNgMHgDycCoILQNOdKRkZGffPrpp+/5+/ufCwsLu+ZINpBsh8OR+O9//5sh2ZA7jHmxYGLl7+9fPXHixGMjJRfHJYAkEsYJxnIKhaJKJpM1CYVCPUsOLykVdRnpNYeVMQMxxFrKHKFQaJPJZPrIyMiCadOm5URFRZ1KSEgwsCZnA+bxvv/++2E5OTlTgJDW1tbO6urqAqdtGfaXJL+ku7bz0iYJ4mCXPZJMmAdcC9AGn883SCSSWoVCURgREZE6ceLE3FdeeaUUxnI5VQXMdXh4uNuOHTsiq6qqpup0ugVAsu12e5ePj09aRETEyUceeaTUYDB0JiUlYS56X7QfAvGNjY3CL774IuDMmTMJZWVltzc2Nk5vaWmJgc84HA6kGvQpEgY7TjiOVDTg36TxGb6Hm13k5hO70dEtl8trYRwqler4Sy+9lG21WlsGqgk+lL7RYykCFAGKwK2IACXZt+Ks0zFTBCgCFIERROD+++8P5nK5Lw1EsgMDA5lIdkxMzEiQ7GdzcnKmA8nGSDYSFyipBZHs4SbZEMn++OOP12RlZfWRbNblmyHZUCdbIpFsGok62Wh8BoQKDeIgcmuz2X6uUwY7GHY7k++Mn1+OzOJnKF2GyKhQKDS5ubm1wMZEfHz8t88880yqWCyuSkhIQBLORH4x6rlr1y5Oe3u7sL6+3qOjo2NxcXHx8pKSkhVdXV0iu93uCpFrst+AFbZLusdjDr+ziddgly6pnoDr8ng8qBltFgqF1UFBQcf++Mc/fu1wOM7ccccdLQNdE6PXUJqrqKjIvaGhQV1UVLREq9UuLysrA0d0Ny6X2xsaGloVGhr6/ezZsw+IRKJzKpWqa/Xq1YypHxqhgTQccp5ZMzjuu+++O+/o0aPLsrKy7jEajRARl/J4PB7i4Zyjfrlx42aFk6Kh7xT4nKwzDx+wGzKM8zq87unpAb+EepVKlXPXXXelcLncQrVarVm9enXvYDGnx1EEKAIUAYrAzwhQkk1XAkWAIkARoAgMKwJAsl1cXF4Cd3FSLo6RbKVSCSTnYHx8/B+HM5K9atUqJpKdk5MzA+oSQwQdyQQQF4hoRkVFjSjJBsKCOb9AdoFkg1zcw8Nj85dfflnaX9T+3XffnV5QULBy9+7dj1ssFjmWABvspDjXV4b2gWwh8ULSdjXGYXCdkJCQs7GxsRkKheK7wMDAC0uWLGmeOXOmhe0fRGqhJhtzPwGR4NLSUvfvvvsuRqfTLTt48OCClpYWkId7Wq1Wrs1mY45DdQOaj7GGbT/fmHA4fZFZ0h0bPxssLmT0GzCQSCTtISEhFQEBASkwnqSkpFKVSmWMi4sD4ttvLW9sa9++farz58/f9v3336+sra2d0t7eHmK1WqEkF4/L5drBRM/Nza1eqVSeXrJkybcqlSr7scceq8T5Zt3ogWQz5c3guu+88457fX39OKPROOPo0aP36HS6ye3t7YyXwFBzz0kDPHKe+9tQ6e9Y3NBwOBywCdHu4+OjnTZt2t6kpKTUJ5988tRwqU0GO3f0OIoARYAiMNYRoCR7rM8g7T9FgCJAERhlCFyJZAcEBFSzOdmvDWdONsjFu7u7Gbk4kmwyIgtEC+TiH3/88XtGo3HYcrJ7e3sTP/vsszUnTpzoy8mGdqG960GyYfpJN2mMWCMpxUhwfyQbTdpwCRHHWPl8fqefn19JQEBA+vjx4zMSExNP33333Xo2GkuuOoY0pqenQ+1rz48++mga5F43NDTMb2hoAHm4F2E2xpyHddCxTjVuhpAu4EPdFOjva8Di4vDx8akEebhSqUyPj48/8dhjj1VERER0kaXYnM+HPOqsrCzJ4cOHowoKCmZqtdp5LS0tU7q7u/16e3slWGYMx8blcs0ikaglMDCwyNfXNyM2NvZEcnLyWXd3956EhAQg8kCyASuU1zvS09OlFotF+c477yRqNJrE9vb2OVASzmKxMNcfjkd/Unvnecd2WPxtPB7P5O/vXxwUFJQVHx+fGhgYePbll19u5HA4uLkyHF2j16AIUAQoAjctApRk37RTSwdGEaAIUARuDAJAsu12+0tFRUX9RrIDAwMZd/Hx48cPO8nu6el5JjMz8xKSjSQUjc/ee++9YTU+A5L9+eefr8nOzn6CJEZIsiEn293dfctIRbJJMg2vkfTh7GPkkuwb6YCO0m32XIerq6vF1dW11cPDo/SOO+7YExkZmf7000+fZwki1JqCewcgjWjwZd+1a5eooqJCqdfr4woKCu6trKycW1ZWFg7ScCTUZASVlKVjnzGXHceDZmjQP4zuO0dmB8rVZsdn53K5Rh6P1z5p0qTDM2fO/OnFF1/8ycvLy4BkcQCSzcnLy3NNS0vzqq+vD21paVlRXFy8sLKy8jar1coHCT5iScqwTSYTkw8vEonsoaGhRdHR0ekhISHfKZXKysmTJ7cmJSWhVJwZMmuKxmxQXLhwQf7xxx9PKy0tva+4uHhaZ2dniM1mk/anOOyPIJMbEoAX4TR/iUycPJd0XEf1AKogjEYjyMgdcrm8OiEhIdPT03NveHh4wa9+9asGtVptoZHtG/PbSlulCFAExg4ClGSPnbmiPaUIUAQoAmMCgcFGsseNG/fap59+Omzu4qzx2bMnTpyYju7iJJkEEgSR7Pfff39ESDZEstFgCyYKSD1bJxtI9psjQbKRIDvXBMeFQhppwWuMcsN5YNKGueO4EcHj8cxKpbIxODj40NSpU/f7+PjkeXp6trElu/rWHyGDZspabdu2beKRI0fmHz9+/F6z2RwGOcZ6vV6Icm/nqCxJlp2j10j40BUbSTi5aYDngLSakDr31cFm5eEGhUJxft68ed+7u7unKZXKcy+++GL7xo0bHa+//vqA8nAwOIuPj/f997//PffcuXN3Auk1Go0BHA5HQpb2gv6gSgDLkLHu4ExpMKlU2hAaGlocFxe3b+3atcdmzZpVzW5U4OYERLSZqHZ+fr4rlPnSaDQBGo3mrosXLy68ePHiDNaBnTFEw7nEUmeID2kihySZTBGAOQec4D3451SHvi8fHjc3cFzwDOtBIBB0qVSqArVafei111771mQy6RISEiBPG8ZxWZn9mPjBop2kCFAEKAIjgAAl2SMAKr0kRYAiQBG4lREAkg3u4oWFhRDJjsLcaJRQo1x8pEh2dnZ2n/HZKCDZTE42uIunpKRcMSfbarXKh5KPS8rESUm2c2SSJK7k2iRLgEkkkhZvb+8KpVJ5TK1WH/uv//qvAk9PzxY2Z5khVOy56Jjt+t5778lramriioqK5tfV1c1ubGycBOW5bDYbn8wLd46ik30gCbfzcTh/zpFaMm+bNEaDNkHq7O3t3ebl5ZWrVCozV6xYcTQkJKQ2OTm5g82JZnLH+/uOfv755z56vT784MGDs2pra2e3tLRAVNnPbreLnGX45AYGkGwsP4au5tAPqVTa6uPjUwCy6wULFqR7eXlVPPLII60slmSpL+gPJzs7W7B///6Y0tLSGXV1dVBPO0Gv14N8XEjmsZMbDs4RaSTLaPzGkuW+/mG5MGc1AXkebrqg3N7d3b1ZJpOd8/Pzy5w0aVL6vHnzzt1zzz0NxGbOgA7zt/JvIR07RYAicOsiQEn2rTv3dOQUAYoARWBEELgRJBsijA899NAKqJM9mki2QqGojY+Pz5RIJG/s3r37/OWMz7755hvG+GyoJBsJkXPJJrJ8Gek+ja/BCI7P5zvEYjHk4Hb5+vqejomJSV+wYMG+BQsWVIWHh3exsma8V+iLvJaUlLh+++23flVVVRM6OjruPH36NNS/Hme32wVkPWvsw0CybpIIIskjyR+eR54Pn6N8HNQJ8ED3dBcXFyjPpYuOjj4zfvz4vQ899NDxadOm1RCya2YMJMmGtZOens7Lzs6W6XS6+O7u7vkFBQXLdDpdZHt7uydK3qEdiASTkWPcBECSDUQb+wY4AMZSqVTv6+tbNn369J/c3NzS5HI5OJq3JiQkgFQcsWVytbFfn376abBer5/+2Wef3avT6RK6urqCeDweKAOYqDaoJBAveHaWiMMaAlJOGsrhl52sn01ucJDjcibx0J5QKDR4eno2xcbGfhceHp6qUChyQ0JCutatW2em8vER+SmlF6UIUATGMAKUZI/hyaNdpwhQBCgCoxEBSrJ/NqwCYqJQKLTR0dE5crn8z1999VUJOHE7zxm6i+/Zs+dxs9k8JJKNRAuIExJAJHzwN/SBdDxHUgvkis2Btru6urbPnDkTor3f+/v7p8XGxrYqFApLUlISE111ygu2lZeX8+12u3zLli13lJaWLjt79uxMu93u4XA4BFiTG/vVX2SaJIfkazIyTOZvk1Fs8jUQSCCx6MZtsVgcoaGhZ6OiotImT56828/Przw4OLht2bJl6Ojdr7TZ4XDwc3NzPX744YfFGRkZS8+cObMQ3NBtNpsQFNOIIZBtaA8fZKkt5+gwqRBgc69NILuOiYnJnDJlysFHHnnkW3d39y61Wg0XJDG2A9H+4IMPQAng1tbWNj47O3tJZWXl3XV1dSqz2QxlvhiJN+aDQ7/ggZF0UsKO7xGbEMxxJInG1yTJJjc/UIECLuoikcjqcDg6AgMDT65atQryzVMfe+yxOg6Hw5Rxow+KAEWAIkAR+BkBSrLpSqAIUAQoAhSBYUWAkuz/I9lyubwuMjLypL+//5+3b99+tj8yci0k2zlCjMQLyRX8jfnCQAqJiKtDKpUaZDJZqVKpzImKijoSFhZW/Ic//KEWS0yxiwIGgxFsx4kTJ+QHDhyIzM7OntfQ0DCno6NjArhhQzCZlHAjeSZJvXPUlFx0zpFq8nySEJLycXjNRuPt7u7urQEBAUUKhSJt3LhxWffff/8ZLy+vnri4OAj59kXinSPYZ86c8fziiy8iy8vLZ1ZUVIB7+ISurq4Qu93O5fF4HIgGA27YH2fTMVKuj2PAfHHyHHYMDplMpvXx8SmBOt1RUVEn7rvvvvOzZs1qdrofQ+k1Jzc312vbtm3RFy9enNnQ0HB7S0tLfHt7e5CrqyszpoHk9PAZmX8PfUOFBNk/vEZ/eONn5IYHbsyIRKIGuVx+LiQk5EhERETWb37zm9Nqtbqnv02kYf1xoRejCFAEKAJjBAFKssfIRNFuUgQoAhSBsYLAYEn2xIkTh81dHCKoa9asWa7X658dTXJxuVxer1arc/39/f+0Y8cOINm/KIGEJPtq5OJIYlnDrT4pM+ZDA6mGY+BviMiyUmYzj8fr9vLyqoyIiEh95pln9nM4nDN33nknlOdyjlwzudg//vija01NjaykpGRyZWVl0sWLF+9saWkJNhqN7mCgBtfH6LizBLw/skaSbzI6SdtaKgAAIABJREFUfbn8bDL3mj3H4XA4LGKxuMnX1/fMXXfd9W1ISMixJ598shxzr4nvTJ9JF6yVzz77TOhwONyLi4vjysvL59XX16+orKyM7O3tlWFUGp7xNYyPzfdmLgn9RNKKYyc3GUh3b/J7C4RdJBLpAwICtMHBwfsjIiLSgoKCChQKRce6detA+37JfRnIsB0Oh+jQoUOKlJSU5adPn15QU1Mzw2azySHSbrPZuKhgIF3cyf6hQRpK90mMnUk22Vcy15vM94d22E0cS2Rk5JnAwMDDkZGRBwICAsp9fX3bHnnkEeNY+a2i/aQIUAQoAiOFACXZI4UsvS5FgCJAEbhFEbgSycYSXtHR0X98//33W4YjnxNJNtTJzs7OnnGj3MWR1MLUA6n18fGpj4iIyFUoFBtTUlIuG8m+GpKNhAlIEJAteEaDLJSLI/mCPsF7Xl5eDREREWcmTJiwMy4uDqLYlRkZGeYNGzYAoYP7AiZ6zRI85u+dO3f6NTU1JX322Wd3Q3kukFODzBo+w4gpSexI8uYs/UYyiuSvv68JRuSR6JGkFdpjZdtmHx+f1piYmH0LFy7cz+Vyc7q7u7s2bNgAGxkYgYfLwxgYGTbbL87OnTuDent7p3/44Yf31tbWTu3o6AgSCAQgg+ey0XGmW0iuYV5Blg79wPfgc8Abscc+O+fU4+YAbkI4HA672Wy2gqlccHBwwUMPPbRXKBSmr1+/vppwbYf+M/2GdiBnPCMjw6O9vT2hpaVl+bFjx1bo9XqVi4uL0Dky7axigP7BWuzPiZ6cJ+d5IHPjnc3VAA8ej+ewWCxmT0/PupCQkOIFCxbsSEpKOrlgwQLIgcfNCMZ9/hb9KaTDpghQBG5hBCjJvoUnnw6dIkARoAiMBAKUZP/8X+tQSfbu3bsfH6q7eH+ElYwMMwyTw2EirxD1DQgIKFUoFCdUKtXRGTNmFC5ZsqQhKirKQDqHY2kmeG5sbBRv3rx5QkVFxezq6uoFzc3NcXq9PsBms0G9bObazvnIA62p/hzGyYg2nkdGhJHckdFXeO3h4dHs4+NzwdfXN02tVmetWrXqDJ/Pb0pKSsKEY/L+BggrvM/VarWCrVu3Tjl79uxsrVY7v62tLdpgMPiZTCYxbE7AtWHenEuiIZkm+wGkFY7DfHgku5gzTW4MkHJ4NCmDeuRisbhZLpdfCAwMTIuIiMjcuHFjnlwuh/JYTH+dpPuct99+W1FXVxdZXFw8X6PRzG1ra5vc09Mjs9vtrs5yfUwPIGXjuBHiHM3ub86c5f39SfrZcmK9EomkValUFoaFhYFxXoZQKLz46KOP6inBHolfWHpNigBFYCwgQEn2WJgl2keKAEWAIjCGEKAk++pJNriLozv1YKYcZbzoao0kkYyqQp4suIeLRCLt5MmTD8fFxR168cUXsxQKBZA5iDL+nET+f7nXLmBulp6e7llSUqK+cOHCkrq6usVVVVUTQboM18boLLaDfXXOWSbHQJJ/kpDia+f8YpJgIxnncDhmkUjE5F/HxsZm3HnnnfunTp2qUavV3ZfxmWFKYx09etS7vr4+pKam5s7q6ur5VVVVCTweD3LJOc4kHjcQnMkxHAfzg/WosS46EFrnMaGMHIk4GVHGDQfQu9vtdgfkwwcGBmaEh4d/HxwcXD5x4sTm5ORkmJ++BxLWs2fPCqA03scffzz/3LlzSzs6OuIMBoPCarWKAAPYLIDrQ0Qec7Gd52wwa4s8hqx3jpF8XHPs33aZTNarVCoL4uPjU2UyWWpgYGDFK6+8AuXKbJRsDxVxejxFgCIw1hGgJHuszyDtP0WAIkARGGUIECR7UU1NTbRznezAwMCa4ODggzExMa8Np1x8NJTwuha5+K5du5hI9lBINilddnNzY1aCXq/vk4zbbDaHQCAwBAcHn1y5cuVegUBwxNfXt+bJJ59EAkfeB/S5b+fl5SnT0tKmpKamPnzu3Lnbmpqagvk/TyRDSIG04bxiGS3SXIskp87LE2XieDxJ2J1JLZwLBI81b4NyY81z5sz5KTAwcB+URpPJZO0KhcLOOqFjSSzMKweJOCO3Pn78uOq7776bVVJS8qvCwsJJ7e3tARwOR0DmrEM/UBZOmp1Bn+BvlOOj/J6UgcNr7CcpK4eoOBkFxyg2zBvMF1yrt7cX8LS4u7s3BQcHX5g6deqXd99997EFCxZUsPJ9cjzAyzn5+fmuJSUlvmVlZXF5eXkPl5WVzayvrw8zm81csVgMed9MRJ7Mlcd5YM3L+kzT8H3n3Pj+NkVws4PZkXE4mDUAzyw+DldXV5CPN8+cOfNwdHT0vj//+c9psCQxIk/J9ij7sabdoQhQBEYMAUqyRwxaemGKAEWAInBrIgAk+39vrF8qKChYPBDJDgoKAqL0h6+++qp1OG68MSe7p6dnfVZW1syBcrLVavXH//73v9+z2+3n58+ff80GTQ6Hg7tjx465H3300Zrs7OwnwPUZHjDzpFzcz89vw86dO6GE1y9KHaHx2dWQbOdoI0Z/sa6xl5dXEzhuBwcHH1u4cGF2YGBg/Z133gnycIZ8Ojtvp6SkiHt6eqK+/fbbxIqKiqTW1tbJvb29vlarVUKSLoxiwntosjYQWUNChueTRA0jrExHWAdsJOGEeZsdNgp8fHzOqFSqrNDQ0MMqler8q6++2uAkp+6r443j2rVrl6fRaIzYvn37Aq1WO6utrW0SrA2r1SrGHGloG/OVUXJN5pE7R+0RY1QROEfvyWvgdREDcr6QrCOh5/F4JpFI1OXp6VkcFBR0Ijk5+aiPj8+5hx9+GKLBTE45QbphrILPPvvMKyMjY7xGo0lqaWmZV1NTM95sNrtxOBwoqf3zBP+8HPvUB+g2fznVQX+f4XukeoI0W8PIOZ/PB6Ktlcvlp8LDw2Gz4BioDRISEqDuep8B3a3560hHTRGgCNwqCFCSfavMNB0nRYAiQBG4TgggyS4sLFxcXV19SSQbiFNAQABEsg/PmTNnw9NPP91mNBqR8A2ph2q1uu/46upqzmuvvba0ra3tyZycnOn9kWyz2eyIjIz87K233vrAx8enNCEhwQjnWa3Wfo2Z1Gq1o7y8vN//J7FtrVbLTU1NnbNt27ZVOTk5j3C5XB7Kj4E8scZnJ/38/DYON8lGqTYSVSDW8BAIBBCR7nR3d69QqVT5M2fO/H7NmjUFU6ZMqYdNAQJkrIMNb3E3bdrkpdPpwpqbmxeePXt2YX19fYJer3fj8/lciFiSZBqjukgoSSJHEjtnwywkm4RcmomE4jn4PpBTtj61yc3NrV0qlV5Uq9Wpa9asOdTb23vmqaeeMhAmbcxl2XE5Nm7cyHn99dd5Gzdu9Kuvr4/t6upKKioqWtjc3BzT2dnpBlFezCN3jqKTUXYcE44bpeEYjSZzzMnoMEnYSbJKyuFJ+TaOHU3VxGKxUaFQXJwwYUK6VCo9olAoYLzgUg8TTM4Z87q6ulrw6aefToRNEdjYamlpiezp6fHlcDh8KENG9o2ZaC4Xc/QvIeHkl4+cE+cvJeacY71tlJJj3XAk9J6eno0BAQEl4eHhB4KCgnISExNLIyMju6Gs2nBsrA3px4IeTBGgCFAErjMClGRfZ8BpcxQBigBF4GZHgCTZEMkm3a2BSCiVSk1oaGjGQw899NbcuXNbBQIBY1YFuanwLJVKXXp6evpgkkgkzPsGg6Hv/ywul8u8BmksPDo6Orj//Oc/by8rK/uvU6dOTTGZTJ4oZSVye+0xMTE7f/vb326LiIgo9fHxMQMhtlqtaJb1izad24W/IY8XD4Tz9+3bN3PPnj135ebmruZwOK7gUI2ESaFQADkaFMl2dhfvT3JNRpNJuTVItpEMCoVCe3x8/Em1Wr3/rrvu2mmz2ZpWrVplINzCnZcgYCnZvHnznJKSkjtTU1PBudrPbrcLAGeyzcutXST9ZC4yYo/Ra8QFJNXwwNJjeF0yumwwGFx8fX11kZGRBbNmzfoyMjLyVEhISE1GRoYdnNCd+wKkm4328uvq6jzef//95Xl5eStOnjy51Gw2S1xcgFu7wnwzMm2hUMjkLaPUezBmYCP93WX7AOsd8uh7J0yYkBUbG/v973//+70Wi6UtIiLCRIwTZeSwscCTSqXerq6uc7755pt7y8rKFnd0dHjxfn4wY8RccswfJyPT5Foj58w5sj+U8dtsNjuXyzX5+fnpoqOjf3jggQf22my23LVr1/7fl3soF6THUgQoAhSBMYQAJdljaLJoVykCFAGKwFhA4EokWyKR9Li7u2sVCkWu2Ww2WiwWplwURgbR2ZmNCIIxVN+wic+Y0lJs9AxydR0mk0ml1+vHt7e3+0INYYywYd4yaG19fX0vBAUFlRgMhjaWBMC1+3KR2YYGLDnEXpNjMpkYIu3q6uoQCoUBbW1t6vr6+miUi2O0EyLZ48aNuyqSPdBcO+fOEqTI6uHhoY2MjASH6oMqlerUCy+8cDEoKAgioAAiMy4yinj27Fm3kydPBqalpd1+8eLFufX19be1t7eD3F8IYyGxv9Lawygw5jk7R4WRsCG5JjYqmJd4PGy28Hg8o0qlAvfwjKCgoKOzZ88ujo6ObklKSmKc0J0joUg8jx07pjhy5EhUXl7ePI1GM6u1tTW+vb09EDZGYMMA2sDNCNiEgWg5mpkNZaxXwuJaPieiyHY3N7cmmUx2PiAg4OSMGTNSExISzt177706IoqPpcrs+fn5vNLSUr+jR49OgTJrWq12UXt7e0hvb68nGXUnN70QDxw7zh2uXxgHee5QxsWSeJD6G93c3Gp9fHxOT58+/cfQ0NDcl19+GWqZY+oElZAPBVh6LEWAIjAmEKAke0xME+0kRYAiQBEYOwhciWSztZwtUqlUD4SKJdMMkyblx0QEmhk8RkoJ8sZlX4Phkt1isQh6e3shd9iVJSF95ZUwYiqRSIxCodAI0Wu8HiE1RpBJkn0J4WYJLkRDmbaB7HG5XFez2Sw0GAxisvQTjEsul9eHh4cPK8lGLOCZNdaySSQSk0Qiqfb3989dtmzZj56enjnPPfdcPVsK6hfmZiAbz8zMlO3duzeqqqpqWn19/R11dXXxLS0t/nBdtg5yn2P2YFYfEjas043zRM4dYo7SdmcpM/RXIBC0gtR9ypQpR6Oioo6++OKLp+RyOZYZu6TmNUvOOZ999pmwu7tbXlpaOrm6unqORqNZpNPpQnt6eiCa22fQBe3iGsP61nANlEAPZpzX6xjoJ0TaxWKxXqFQQC3qg0FBQcdhEyU+Pr4pOTnZTOTUw/eH+Q7l5+f7HD16NOrgwYPLNRrNTHAfh/QJm83mCp+jigDHgXW1Yb7IHGsk+ygvv9pxs9d1SCSStnHjxp2Qy+WHg4ODM+fOnVsZGxvbGxcXB0qSPrk/lZJfLdL0PIoARWA0IUBJ9miaDdoXigBFgCJwEyBwOZKNN/LwbDQaHUDIyLrCSKydotl9xAjgwSgblirC/F0gJXw+n4m+4nXQ5Anek0gkzLkQOQd5NZwPn6Px1GCgx7bRARzOZcfAyKoxMor9BJJ9tXLxwfQHSJhQKOxRKpVN06dP/3LBggU/isXi3HPnzjlef/11ht8S5mBM3WUgMWlpaSKj0Tj5ww8/vPv06dN319XVBXK5XJFQKGSivTAOlBgPVi7et0PBuo8jOUPMyEg2Om7DOUajkZkvHo/nEIlEvWq1OvOee+7ZIxKJfpwzZ44uISEBIp4ojWainjgOlmRzP/30U3+TyZSUkpKyqqqqanZLSwuYm3EhJxlcvGE88I/Fq2/NobSd7NtgcB/pYxBzcB4HbPh8vs3Dw6MbNmyWLVu2z9vb+4dnn322DrIdnPLsmch2SUkJr6GhwWvPnj13Xrx48d6TJ0/OttvtUsAD+o6ScVjHpMM65lXD94+MauP3abDjJo/HXHZQkhgMBntYWFjJlClTjqxYseLzGTNmVLHl15i666xK4RfpG4Ntlx5HEaAIUARGCwKUZI+WmaD9oAhQBCgCNwkCVyLZSCCA8EBUDW7CMU8Wc3cxiuYs4SVzewEuLJuE5NbZnIo0uCLzSzGyPdQoHUZrwTwLHkDWceMA5cfYLzQ+G06SjbjgUvHy8tLJ5fKi6OjoHwMDA3PnzZtXkZyc3EG6bmMZK5aMub711lvhWq126rFjx5Y0NTVN0uv1oWazGaLwQEqZucCI81Ak1HgOEjVSeUCWv8I2cDMEnkUiUY+HhwdE/Y8GBQVlTJs2Ldff379+1apVzg7wfdJih8PBa2lpkWzZsiUBpO4XL15c0NXVpYaa0WazGfLJL1kfaEhGmquRGwFXK4seqa8tzLWTk7dVIpE0e3t7V4SGhh4bN27csWeffTavp6enKyEhAYgpEGxmIwXIanl5uesnn3wSXFtbO6GlpWVxZWXlrJaWliiDwcCHVADcyCL7T0jVL3ElH+pGC7v5wVwaN7pwQ0MsFnd6eHiAfPxUXFxc6qOPPpojlUq1CQkJTL9xvY4UrvS6FAGKAEXgeiBASfb1QJm2QRGgCFAEbiEE+iPZpJs0EmWyDBRGhOE4vBln5dgMchgZI4kQ1iBG52s4jiSHcB0iisYQYiTlJFkdCoHAfsDmALyGjQJsB4y0SBk0lvAaDMkuKipaCSW8LBaLvD/yg8sH+80+O6Kioo5PmDDhwPr161NEIlHThAkToP51H9FiMYHItSufzxcfPHhQXVpaOruhoWHhhQsXZvT09MiBrGL+OmLtXAt6qMuXVBLAuWS9ZpgvwI1VENhlMlmHh4fHRYVCcer2228/kJiYWLx48WKQuuPcM4ZmbN+Y13l5eZLDhw/7nj9/Pkaj0YBzeKJGoxlvs9nAUY2JxpNqCFxLzqoJUpEwmqLZiB/WIkdfARg75Dj7+/uX+fn5HQ8ODj4aExNzdtKkSQ3Lli0DQ7G+HG10Iv/iiy+82tvbp+zfvx+I9tyWlpYIu90OZb4E+F1ErPvL98fv1VDWAF6XTA+AMaAZIY/HM8tkshalUnl83LhxMIbjQUFBunXr1nVzOBwayR4K2PRYigBFYFQiQEn2qJwW2imKAEWAIjB2EQCSbbfbXyoqKmLqZKOrsTOBQ+KA0VLM5QUChlE85/xeMmpMyIwZ8kySJCBwGB1HWbler+8j2XAsRlKHEsHENpA0kmNC8ohu1dD+YOTiH3zwwfTc3Ny7d+/e/RiQbIy+k1FFcjWwBAzUt7akpKT3nnrqqZS77rorC/PQ+8tpbWhokBYWFgbt27dvbU5OztKSkpIpKAnG3GScB9gsQBfwoWAD58DcQZQfzmNrdfdJs9ExHjYo8PpAthISEvLHjx//7W9+85vdfD6/PiwszIhGZgN9C7KyskJSU1NnHTp0aF1ZWdnEtrY2P7gurheMpqPyANMSUNIP7eP44RiM3g9lw2Wkv6HYd9wYwvmB92HDyMvLqzk0NPTc0qVLd0ydOjXjjjvuKCXqaDNLk1wL+/fvjzly5Mj8I0eO/FdtbW0E5KuDO79zZB9OxPmB11ebr47fFbgWKUPH7yrrzWDy9va+sHr16m1KpfLQ+vXrz/VXS36ksabXpwhQBCgCw40AJdnDjSi9HkWAIkARuMURcCbZSHyQkDpHy+Bmm6y9i+SYNBGDc5G4wflAqMiIN5kD6iwRx+lAIoXRbezPUPJNycgcmwN+yWyjbB0NvQbjLn4NJNs+Z86crY8++mjK/fffn9PfsgOJeGpqatCuXbumnz9/fnFdXd3Urq6uEKPR6IlE01kiDuPCnF0ywn2lZe28AQHzQJpqYdSYjSrbvb29qyIiIk4qFIofVSpV4QsvvFDt5+cH8nA0wbvEdA4I5Icffujh4uIy/ptvvllYWVmZ2NHREQPl2ux2uwgxh36iuRcSVVxzWNsZ/sY1h1FuZyn+lcY7kp/jOkP1BYzHufSWq6urSSgUdnp6epaFhYVlJSYmpoeFhZ1as2YNpAtANLivxBdIsL/77jv34uLioLKyssllZWVLmpubZ7a1tYUZjUae3W7nkJjh2kDchvIdwe8Vrh3cHIBroQcCfE9gLgQCgV0ikXTLZLKakJCQjEmTJqXdfffdWbNmzergcDjmK222jOQc0GtTBCgCFIFrQYCS7GtBj55LEaAIUAQoAr9AoD+STcrFnSO0ePNNRrbxhh8jYGzUi4mUklJgvKEnb+SR7KFk1dl4CwkMSbIHO414bXSp7qcWN3Mp3BAAkn0lufhgSDZJduD64MrucDjsc+fOffuJJ55Iue+++046jwHMzRoaGry//fbbhdXV1YsaGxvntba2Kmw2mwjzZOEcvDbmMCOZG6p8GjdLcI5gDrEONZJaLpdrhfrPMpmsIjAwMHvevHmHfXx8chMTE5tYg7O+YZAS8fLycsHnn38eUF1dHdva2rqwoqJiTnNzc6zRaBRDaS5neTu5OYC52HBhzMXHsaHpHcwjKhsGuxZG8rj+NnNwXqBdQvZu5/P5JoVCUaZSqXLlcvmh8PDwM88995yG3bDAbmIdPEF1dbXXG2+8MbuioiKpvr4+sbGxMdhoNMr4fD5T/x1xIDEd6lhx48JZGYAbIfhdhzbYsTj8/PygvF5ObGzsD2Kx+NTf//53TX/l2obaF3o8RYAiQBG4EQhQkn0jUKdtUgQoAhSBmxiBK5FsvPEm5a9kFBFlvHAjDu7KSLAx5xmjo0gQkVDhDTvIyJG4YyTTOTKHhAsJ+2BlwiQ5Q/JG9p2UxhsMBhdvb+/66Ojoy5bwcibZzhF8Z7IL7bEk25GYmPj2008//fXKlSt/QbKzsrJ8y8vLJ7z55psv19fXz+ju7nYHDHHzAaOKbJkoBmeUfKPr9FCIJykPRvxxMwIIN7jJu7q6dvv4+GgXLFjw1cKFC39avXp1PrvZwdQ9J13D8f2SkhK+Vqv1OXDgwOKysrJ7cnNz5xsMBndUEqCiAd3i4e/u7u6+/HxcF85552RKAeBCpgCMxNcTiedgr00SVZwzjCiTm1ZIvoVCYffkyZPzY2JivnnwwQcP+Pv716nVaqiRzkDJ4gu42DQajXjHjh1RWq32niNHjizT6XTxFotFiCXByOg+XB+dxgfbd/I46DvKz+EZ5gnWA25EwRrBufDw8GieNWtWnqen59vbt28/QqXjV4M4PYciQBEYDQhQkj0aZoH2gSJAEaAI3EQIXIlks+SpjwTB3ygRh9fOjtZkzihJrAdyvu6PkCCBJIkLEpbBEuz+pmig60F7QPYhJxsk0X5+fht37txZ0h9p6I9kk8SdjMwjPhDGZiPZWwci2d98801IQ0PDnE2bNj3f1tY2Cep5IzZwHRJXksgD2RxqFBuxIfHATQg2JxcilVo/P7/cmJiYAyEhIfnTp0+vXbFiRRdLABlpuLPB2bFjxxQ5OTnRR44cWVpdXT2jtbU11mAwyKEWOilHxhz+/uaIXA/O5I/87FrWwWC+vgPl2A+0rsgxOUeGUZ0B5xKbMlY+n9/h7e19MSQkJHfFihX7o6OjS5YvX94IuJI5+ykpKbzKyko3rVarbG1thbriC0Dt0NHR4W61WgVkigd+XwczRjyGVF6Qru7sBlHfJhhGtBEbqAmuVCpr3dzc/piTk/MdiA9o3eyhIE+PpQhQBEYLApRkj5aZoP2gCFAEKAI3CQLoLl5QUMAYn+ENuzOhAZKERBdINkS34Bh06EaJMRJLvFlHKS3emGNEDIkjXhejZxCFAyJCOn9fC9TOJB5ltWS+L1wf2huK8dmuXbsuMT4jCQuSFowKMgzbbrcnJiYOSLK3b98e3tTUdPuWLVue6+zsjEdpuzPRRHxJkkkSQjJCjZscOG+oBCCPx89wvgQCQZebm1udUqk8oVarM/7f//t/GX5+fs1BQUEmNnIKBLvPpAvI4I8//giy5sCsrKwpdXV1c3Q6XVJra2tId3e3J8rS+0tBQDKKeflIEMn+4hiQpKPa4Wo3Fga7loZCsrHf5KaI80YIXg9z3WH9gSrB3d1d7+Pjo1EqlRn+/v7HJk2alJ+UlKSZOXOmqb/yWLBOjh07NrWoqGh5Q0PDJDZnX4bpA/CMGy/9bVaR8nKy34iLc7k88niSdMPxAoGg19vbu0Eikbxy+vTpb2D/jZLswa4wehxFgCIwmhCgJHs0zQbtC0WAIkARuAkQcCbZKKEmo1tIoIlSTi4g2SXNzZBMI3kFMussX0YpMEiz4Vx0xnYmenAtslbz1UZrsU9kfiwSOixJBlOIEbrBkOx33313ekFBwd0kyXYmvCTJRrm43W63AcmG8l39ycVZkp305ptvPt/Z2TmeJJ6DXWZIonFeSGKK+fJYzgyuiSZq7JwBebZAru3y5csPq1SqXY888shZX19fPVuzm6l5zf5jothAsN955x2B1WqVG43GxT/88MNdpaWlt/f29ko4HA5Taow+fokARrZxfoBMc7lcc1RUVMb8+fO/DwoKOhAaGtqYn59v3LBhA+Zn910oLy9PxuPxwv7yl788WFJSsqi8vDzW1dWVB7XTkWTD3MJck7XhcYOGNTFjroffvYHmqT/FAJJtgUDQAzJ3mUz2x+zs7L1gfkbnmyJAEaAIjEUEKMkei7NG+0wRoAhQBEYxAgORbOwy3lAjKSXrGaMEHEkwlnvCqB1GKjFaDddEAo0EGNshST2cR0b8yOjaQLLz/iDGvpN5vmiehZsAuBEA7QPJHjduXK6/v//G7du3n+1PLo4kG0t4YWScxOtGkWyMnJOSX4yuEoTuEhdxOBYMzoRCoVGtVoPj9ZGAgIDDERER9evXr++CnGCi1BTch9hZgs1ta2tz27Rp020VFRWLSkpKEltbW8cZDAYfLpfLgwLZIy3pHsVfq8t2DdcwUR6NUQaIRKJWT0/PysjIyBNRUVGpzzzzTN64ceNasIY2XjQ/P59ntVrFO3fuVFdVVYEs/86LFy9O7O7u9gPQSRM05+8rrANyo4k0l7tcp503kmAMAoHA4O81Ez9YAAAgAElEQVTvX+/m5vZqbm7uHpqTPVZXJO03RYAiQEk2XQMUAYoARYAiMKwIXIlks9Eups6zq6urg3UX5rCRUQfImrEUFrxmj2ei2Kxk1oHRNSg9BA9XV1e7zWbjms1mCL1xSDM0jCqzsnUobQQkr2/MmKs6GBCQZGPdZWgLDL0gMgtEkOwrHIuRbH9//z9djmQXFhb2RbJHE8mG8Ti7TWOkEkuhodwacZZIJHqpVKqVy+XFEyZMODht2rSTzz77bCmW5mJx7rv/gKjrwYMHpRUVFX6pqalTwAW9s7Mzsb6+Xm0ymSS4kUIJ9mBW6M+bTrhO4VkoFBp8fX1rvLy8spRK5fFly5blBAUFNSxbtkyPRmfsle1arVb0ySefhNTW1s4oKipa0NjYeFtnZ6caeDYe259M3zmFYjCKg/5INvTVz89PJxaLX8nPz6cke3BTTo+iCFAERiEClGSPwkmhXaIIUAQoAmMZgSuRbIiwQdkhiUTSAZJnm83msNlsHHQAd3Nzc4AkFYg2Rs1YPCA6h+ZYcAzXbrdzgWR7eHhYjUajqLOzU+bi4sIHxosRNiDv6HINxkpQl9fhcJhZUgiEfND/F2JeLPvMEHyTycQxm80Si8Uic3UFbzEOE9kFKTwanykUij+lpKT0G8kmjc/MZrN8NJFsMg+ejGCScnsi2g11xaz+/v4VarX62O9+97uvuFzuuaSkpFYi9xprNzP7EfAP5OF2uz20sbFxWlpa2gO1tbWT29vb/dBlHuYRpelj+Xsxkn1HUgtpExDNZt3cyY0kFzc3t3alUnkmOTn5K29v7ywej1fxwgsvgBwbNfiwAQVzAnPk+vbbb88/fPhwcm5u7r0mk0nmcDhEIB/HevOoDIHvFqx1VHeQ9cevNGZSbQJrjZLsKyFGP6cIUATGCgKDvrEYKwOi/aQIUAQoAhSBG4vA5Ug2RNZEIhHUSS6dPHnydolE0g4sm+yxSCRinLnhQRC7/ws9I+N2ODhAzoG0C4VCe1tbW3xzc3PSxYsXY3p7e93hMNIsCm7iQ0JCsqdOnZrm4uJS4XA4LEOJYjOs0OFgSDlLhMF8DPoVeO7cuRkXLlxYZrfbXfGaMCwwcVKr1aeCgoJALl7M4XCwpFLfkEcryca8eSyvhEZY0HGUJyO5A6IllUrbYmNjz3t7e38bGhp6fOXKlRdcXFyMSUlJMGbIA3Ym2C6HDh0Sl5eXTzt48CDIwxd3dXWpoGYzOFyT8zeYyOiNXfWjo3VWqt9Xjo1ds0xk29XV1cLn87tFIlF9bGxs6rx581KXL1+eNWnSJAOoO/BrhTnymzZt8q6rq4vs7OycnZ+fn9zU1DS+q6vLG9Y+lkvDdYAbLYgCqRQZLDKUZA8WKXocRYAiMBYQoCR7LMwS7SNFgCJAERhDCCDJLiwsXFxdXR1N1o6Gm2+IJHt7e594/PHHX5s5c2aTVCq1isVipia282Og952PA7L7+eefz62qqnogKytrNpvHy5ALjAxDtC0mJmbPr3/96y8jIyNPKxQKo9FoHPL/g3AO9As04tCP2tpa9datW1dmZ2c/C/sCHA4HoutM9NzLy6spNDS0IDw8/I8bNmwojoiIAEftSx6jmWSjLB/z51EqjtF62OBwdXW1enh41Mjl8tPx8fFpwcHBWQ888EB5XFxcDxElRZLNjF2n04nee++9YI1GE19ZWbmgoaFhRltbW6zZbOaDOgFz78lNkjH0FbghXSWJLYmbE+FlXOn9/PxKAwICwCsgPTIysuiRRx6pVqvVMF+XGNEdOHDAo6OjI3jbtm3zNRrN3Pb29ml6vd4X8rcxQR7d3rHOOErHhwoCJdlDRYweTxGgCIxmBIZ8czGaB0P7RhGgCFAEKAI3HgGSZEMJLzJ3F274pVJpp4eHR9rChQt//f7770MNX+tw9HrNmjWL9Hr948ePH59vMpkUWLIKo6BA4iMjI7e98cYbH3I4nII77rgDInjX9ICodW5ubsTzzz//YH5+/qsCgYDL4zEeXUw03tPTsyUkJKRIrVa/9uWXXxaCunwgko3u4qNJLo4EDTAEPDGqDX202WyQEG90d3dvnzRp0sGkpKQfZ8+efXD27NmAKxm5Bpk/SMk56enpPL1eL6ioqAg+e/bsPI1GszI3N3cabIqAxBlLRAHhwtJruGFxNdHRa5rcMXYyboDgBgWZakEaBwIZBnylUmk7KA9CQkJ2TZ069ai3t3eFSCQyrlq1CuYOJORoSMdpaGiQv/XWW7PKyspWFRYWTmtraws0m81iWOv4/cYUAjQAHCp8lGQPFTF6PEWAIjCaEaAkezTPDu0bRYAiQBEYgwgAybbb7S8VFRUtrq2tZSLZ+IAbacjF9vDwSE9OTn7u7bff1vUnob6aYT/11FOLurq6Hj906NB8g8GgIJ3JgWQAQYyOjt7++uuvf6TX6/PWrl0LkbureqAkfOPGjZwlS5ZE/c///M+Dp06degVyspEkQ3symawlICAASPYfduzYUXQ5kp2SktJXJ9vZFGoAd3H73Llztz7zzDNfj0QJL8QMcESCjbXHQRXg6enZoVQqz0+dOvVHd3f3jODg4HMqlaqdJWmAK2MEx5I1pmzUnj17fFtbW2O//vrrO2tqama2tLREmkwmd4fDwUcZMhqpQZvQHrq3w/nU/Kz/5Uo62qPpHxyJxBuxw8/YDA1wgDdIpdIKpVKZ/d///d973dzcztx5551NbCso73eUlJS47t6921On06na29vvqqysnF9VVTXFbDYLWdM/pi1yjoa6KUJJ9lX9FNGTKAIUgVGKACXZo3RiaLcoAhQBisBYRWAgko03/G5ubgzJXr58+bCS7PXr1y9sa2t7PDU19XYg2ehMjsQQ2o+Njd2+YcOGjzo6Oq6JZOPcbNiwgQsk+6WXXnqooKDgFSTY6O4MJDswMPB0SEjIq5s3by66nFx8hEl2PGwADIX44BjQ0Ardw3k8nsnDw6NZLpefCgkJybzjjjsyZDJZ1erVq9sQF6JEF8O7SkpKeD/88MO44uLiBK1WO0+r1U7v7OwMNRgMQLCZCDaWZUOpMxqeAclmneH7iNxY/W6MVL9JAzF8TeZLkxJuVAvg91EsFgPRrlUoFHmBgYFHo6Oj8zZv3nyRzdNGIzRmk2TXrl3C06dPTywtLZ2l0Wjma7XaCVDmy2KxCGEzhtlR+bmEG/N6KOuNkuyRWh30uhQBisCNQICS7BuBOm2TIkARoAjcxAhcjmTDjTREQL28vNIXLlz43Nq1a3W33XbbL8zArgaeRx99dGFHR8fjGRkZt/f09ChQbowkG54hkv2nP/1pWEn2/Pnzo1555ZWHCgsLX0FygV5uIBcPDAwsCgsLe/WNN944Pcwk25aYmLh1/fr1KYOIZA+ZZDPsmMNhSBNLnED2bXRzc2sYP358AeS3P/roo8cmTJhQj2ZZkKNNzp3D4eC988470vr6et+Ojo6l58+fX1JaWjpfr9eLINKNEXI4B7ADV3mUpgNBg7x2aBty4JHAXc3auNnPISXbGNUmTdAwhx7d4lFSjvnU4C9gMpnsMTExafHx8T9FRkbu9/HxaUpMTOyJi4uDOWWcx9l65pydO3eG1NXVzfzfsnT3abXayd3d3QFCoZAPUW3YFCFTHgZLtAmSXS+RSF7Jy8vbO1ypJDf7/NPxUQQoAqMPAUqyR9+c0B5RBCgCFIExjcCVSLa7u3uHTCZLW7Zs2fPDSbKfeOKJhSAXP3r06O1dXV0KIBBCoZAhikB6obwRkOw33nhjWEk2RrLz8/NfwYgrkmw2kl2kUqn+cKVI9gjnZF8VycZoJxjLAeEZN25ccWxsbLpSqdwbEhJSuWjRota4uLi+TRJnkl1SUuK9bdu2KeXl5ZB7PbOjoyPMxcVFBq7wP3N4DkPISFkzKTvuLyo7pr8cI9x5ktCiMgBJN2w6AZ4ov4fX8B78zebAQ836LplMVhkdHZ07efLkfQ8++GBBXFwc+CYAD0f5OGfXrl2C+vp6D41GMwFc4bVa7fLa2tpQKGVHGh3icAdDtCnJHuHFQS9PEaAIXFcEKMm+rnDTxigCFAGKwM2PAJBsh8PxP+AuXlNTE0VKfYF8Xg+S3d3dzZBsvOGHdsGIDEj2X//61xEh2SAXx/xzJI2jgWT//e9/f76jo2O8M5l1du4mjbPI3F0ul2sWi8Wt/v7+p4OCgjLGjx+fOW/evGKQGSclJUGEE+4lmCgnru6UlBQ3Lper/Prrr2dotdo5LS0t85qamsAsy43M0UepOJyH0VXsB/TPWRlAc7L7//3oj8QiyUY8MbpM1jh3xpqV5uu9vLx0CoUiOyQkJGvFihVZEolEu2rVqm62ddCCO3bt2uXi7+/vvWfPnriysrLZtbW1Sa2trTHd3d3+IExA9/HBEGxUKbB1smkk++b/b4KOkCJw0yNASfZNP8V0gBQBigBF4PoiQJLs6urqKHSNRkMrcKOWyWTpS5cuHfZINsjFIZINOdnOZI4t4bX9z3/+87CT7JdffvkhiGQjccXoOZDsoKCgGxrJ7o9kI6F1LvXkRLogD9cikUgafH19i++99969KpUqc926deVOK4oh2ex7nI0bN7r19vaGWa3W6ZmZmXdptdqEpqYmP9hsQaLnHKG+viuUtoYEHOT4MC9Yqg3z8IFs+/j4tINp39y5c/eLxeKswMDA8meffbYDN1Ww3Fd+fr64srLSLzMzM/nUqVMLKioqpplMJm+73S5Ag0DnzREyhxxng41k9/j6+taLRKJXCwsLqVycLlWKAEVgzCJASfaYnTracYoARYAiMDoRGCzJBnfxBx54oGG4crJRLo7GZ7cAyR6UuziQ7Pb29vGYow5ECkgUIQVnFhJG/mFTBKL+NpvNGBwcrA0NDT0wbdq0H5VKJeSWty9btszMOodjTWXM1QU3cdHGjRvn5ufnLywuLl4OplhWq9XdxcUF6l/3tUkaxI3OVXzz9wo3vUgZOZlLbbVabXw+3+Dp6dk6adKknyZPnnzw9ddfP+Li4gIF7WHuYb6ZNfDjjz/yMjMzvfV6/bSGhoalOTk5y1pbW5Vms1kA+fSoosCce/ybJNuUZN/8a46OkCJwKyFASfatNNt0rBQBigBF4DogMEiSnZacnPz8cJLsxx9/nCnhdeTIEaaEFyXZ28ObmpqS3nzzzec7OzsZuTg8BooiY3Sbz+fbJRJJs0wmuxAQEJAWERGR+dBDDxWbzea2+fPnW9noJCMZRpn46dOnpbt27VJduHBhen19/bzm5uYEnU4XyeFw+MDfkdDBMxnNHqyU+Dos21uqCXQbB2KL6wJ9BNDpHZQfbK62XS6Xl8nl8rxx48ZlTJw48eTy5ctrJ02aBPJxuI+EetpQBx1M7pRarTYmLy/vdo1GMws2d8xmswd8BgCj8Rq2jykBaK4nFAqZSLZUKn2VGp/dUkuSDpYicNMhQEn2TTeldEAUAYoAReDGIkBJNqfPbG2E5eJDimQDmYIINrp3Y24u5j1brcCfHRapVNqmUqkKx48fn3777bd/t2jRIq2fn58BVxWaYMFzWlqaK5/PFx84cGAclHVqbGxcVVNTEwfGcxC1FIlEDBYgS4b2SOdwSrBv3PeUzHXH/Ht04UczOvwbVQ9eXl4tarX6Qmho6J7w8PATarW6dOrUqYa4uDgru+HCbLykp6cLrFZrxMcffwxu8it0Ol10b2+vp81mEzpvfJEycjKSLZFI/pCfn7+HuovfuDVCW6YIUASuDQFKsq8NP3o2RYAiQBGgCDghQEn26CDZKSkpYTqdDiLZL4DxGebhYjSbjCrCew6HwyoSiZpmz559KDg4+IBSqcwMCAhoX7duHbiHozQco+FMDvZPP/3kbbPZ4rdu3XpPZWVlUnNz8ziLxSKy2+2u2A4SKYyQOjtc0y/Q9UcAo9ew+UHWJcfa2tAjPIYo4WYTCARGT09PTWho6LE1a9Z8KxaLT61Zswbqo8P9JKgW7Onp6ZDL73rmzJnAixcvTjp37tz9FRUVU5uamkLgWpibD20QzuZMlBsj2ZRkX/81QVukCFAEhhcBSrKHF096NYoARYAicMsjcKNINuRk32LGZ/bExMS3n3jiiZT77rvvpPPCQ5L9t7/97QWQ7TqTbKyB7XA4bFKpVO/p6Vni7+9/Ii4u7mhISEjJb3/72zrC0Izh4WwUm1tSUuK6Z8+eqPPnz99WVlY2v62tDWolh+r1erf+aiQ7O10j8aZu4Tfu58I5bQCj26gwwDkDBQIhKXcA0XZ3d6/19/cvDgsLSw0NDT25efPmUmIjBki2i06nE+7du9cnIyNjEmz2tLe3zwUpOZT5gnraWHUAjsV8fYFAYAC5uEQieZVGsm/c2qAtUwQoAteOACXZ144hvQJFgCJAEaAIEAgAyXZxcXmpoKBgcXV1dfQA7uLDnpNNSfalyxBIdmNjY9KWLVsYko1mU+RRXC7XJBAIOuVy+YWoqKhD69ev/9FsNp+/4447GHk4kCE8ns275W7ZssW9vr4+uKmpaZFGo1lUUlIy12aziSHvls3hvSTPF3O9MSIKf6PZFpWM35ifDlQxwDwgwe2vJ5hLD4QYHhD5ZvO4HRKJpDc2NjYzLCws5Z///OduLy8vWDNY0o3J1WaJt+tf//rXqeXl5YuysrKWNjc3hxuNRm8+n8/j8XhMpS+UpFOSfWPWA22VIkARGH4EKMkefkzpFSkCFIEbhACWi4HmyZq9N6g7TLMsSbmkhvCN7M/1aPsWJtm/B8aA8luIAI50TvblItnbt28Pb21tZYzPMJKN0WsgNUCY/Pz86qKjowvGjx+/MyYm5pRKpaoF9/CBvj/19fWSf/3rX7EXLlxYd+7cuTlNTU0Rvb29IldXVy5GPlEWDmsN5cDwGkg+/IPPSafx67EmaRuXIoAkGzbAcPMDc/TZ3y1mnvAffAb/4Fg8x2Kx2Ly8vJoDAgK2f/311287HI6miIgIE3s+fA+YlAL4Xf7nP/8pMplMSpvNNnf//v13VVVVzTMYDDKbzcZDMzx4hjrZCoVCJ5VKX6GRbLpqKQIUgbGMACXZY3n2aN8pAhSBSxBA12OtViuwWCweVVVVbt3d3ZK2tjYJ3PHZ7XaOUCh0ALkgH/D+laDkcrlYB7jfQ7lcLl7DxuPxepVKpSEkJKSbx+N1hYaGAmlhJJS3woOS7OuXkz0Ykr1p06bnyZxsWIt8Pt/o7+9fqlAoskJDQ9OnTZtWOHPmzMbbbrutz+Csv7V6+vRp33/84x9zs7OzX21raxvX29vr4Sz5xsg1yo+RtMEzHks6Wd8K34nROEbcDCIj2aQJGikbR1KOn8P8Wa1Wu5eXV5tSqfxq165d/6ipqWmcP3++sb+xwm9zdna2SKfTKffs2TO1pqYmsbGxcV57e3uwwWBg1hBBshvEYvHvi4qKqPHZaFw4tE8UAYrAoBC44o3loK5CD6IIUAQoAjcIASJ6zSkvL+fv2bPHp76+PrC1tVVttVq9uVyujMfjuVutVpC9wm9eH1mGG0eWCFzxt9But1+JZMO1OODObDabe7hcbqdIJGr09/evlsvl2uXLl7fFx8dDfeGb/jFIkp0+EnWyb3BO9u84HA53NEWyoYTXli1bGJLN9ssqFovbvL29q6ZOnXo4Kirq6FNPPZV77Ngx4+rVq0Hqe9lHbm5u8FtvvbXk0KFDmy0WizdsXkF0GqOhGCmHi5BGZ/A3KRfvj4hfqW36+fAhQLqL41xgOS1sBYg0KeeHeQZ5OagT2E0Su4+PT3NgYOCO7du3/+tKJBt/f8vLy+W7d++OO3LkyJ1arXZGe3t7lF6v97Tb7VyIZPv6+lKSPXxTTa9EEaAI3CAErnhjeYP6RZulCFAEKAJXRMCpXi9fp9O5f/TRR4sgFzg3N3d+T0+P1G63C4RCIQdqvmIZIbhRRMnqFRthD4CbTfJmFM/Dm1D8DA93dXU1yuXyhsTExNORkZF7V65cmR0XF9c4WmTsgx331Rx3JZLt5ubW4enpmbZ06dLn165dq7vtttsulRZcTaMuLi7XMycbN3c2btzIWbJkSdRvf/vbB/Py8n4LnBMl4zdaLo7GZ2+88QbKxR1ubm7d4eHhmStXrtzL5/OP9vT06F5//XVG4ss+GNHHQFNQWloa8Nprry0+ePDgm3a73Qc2FeBYMpqNUUkkaVgSCr9DmJONxPsqp5uedo0IYL415seTGyVYagvnjGyKUCHYvb29WwIDA78aJMlmlgr827Ztm6inp0dx8uTJOyoqKu4sLCyca7VahUCy/fz8dGKx+BUayb7GCaanUwQoAjcUAUqybyj8tHGKAEXgWhAgSDbv5ZdfDqmvr4e6rElNTU2TOjs7g9gyQn3GTXATCUQbcgrJiNtQ+4CE4nKmTVwu1yYUCntlMlmzj49Pvp+f39FXXnnlG19f307MWxxqu2PleHQXLyoqWlxTUxMF/caNDYiCeXh4tHt4eKRNmTLlv3fs2AEbD1eMoA5m7E899dSC1tbWx9LT0xf09PT4YptwLhADmPuoqKhtf/nLXz7kcDgFaO41mGsPdAyswaysrMjf/e53awoLC3/ncDj4kJyM6wtysgMDA4tUKtUfNm/eXNTf3H/wwQfTc3Nz7961a9djFotFTrpzQ7vkBg4SWFBW2O12+5w5c95+9NFHU9asWfMLd3HIyW5oaEjavHnz82azOcTf379eoVCkBQcHH1+yZEmuRCKpX7Vq1S/kvZfbCCooKAjYvHnzotTUVIhkK8DszFku7uxa7UzCYTzOTtbXMgeXOxfaQsUKzglGbOEZCSNG48lr4fcblQnk9x7HgNcnN+AG+n3AuYM2yE0+8n187bRpN1LwXIINSaj7k/pjJ4gNRzus74CAgB1ff/31Py8XyWbXMdxzMrW0gWhXV1fz33333XCNRjOlubl50cWLF6cZDAZ/hULRxpLsb2id7BGbenphigBFYIQRoCR7hAGml6cIUARGDgGWZHP27dun+O6772aVlpb+ury8PL6jo4MhWFh2Bogd6Y57vZyN4eYe2oZoj1KpPLF69er33N3dTz/zzDM3dUSbjWS/XFhYuKi6upoh2VgbF/CQSqWdnp6eWUuWLPlDfHx8q91uZ0i2RCLpWywGg6Hvb7PZzOnt7e37TCwWX7Ko4DN4Ly8vb3ZDQ8OvTpw4MVev1zNkFR212blwREZGfvP0009vdzgcZ6EU0dWuTuwPuCNLJJLQ//znP3cVFhY+Y7fbhRDdBZICYx1p47MrkeyWlpZ577777jqbzSaMiorKmT59+v6lS5eemT59ehNbjou5DxiswuLEiROB77zzzsLU1NRNJpNJARtZZHmu0VaSC0kwblyQG2PkRhuuEzLajpsDA5FskhDjOsJjByLrWIfa2emdzH9G4j/asOxnTHYPD49WNid7qCS7rxzctm3b5Hq9fuq2bduWNTU1JUilUombm9ufsrKyvqMk+2p/oeh5FAGKwI1GgJLsGz0DtH2KAEXgmhH4+OOPZ6elpd196NChJw0GgxQcvYVCIRMBxAgmkDwkA2j0Q0ZrrrkTThdwugF3+Pj41CxZsiRVKBR+tHXr1lODJTXD3a/rcT0g2RwO53e5ublAsiOAPCPWQDxFIhE4CF+4//77v/T39++EOs3QL9J9Gs3pYN6sVisHiQf2H4612Wxch8PhsFqtDkgJKCoqigHH6/Pnz8fq9XoP54ipzWYDkn1y8eLFGcHBwZVubm5gSPeLa18OI9jYgbFA/6BteA1mTpmZmdMgcm+xWIQ/Byq5LiaTiSHZwcHBIxXJtiUmJm5dv359ysqVK/uNZFssljlZWVnTrVZrVXJy8i6BQNCcnJyM8nD7UNfh6dOng/72t78tgpxso9Eohzza0UyyUapOlqyCucO8YvidgAekk4DCBR5YToqMeCNZh89xLcN14DX+tkAbpEQec9KRWMP10G0d85uxPbItOAYJ/vX4vl5NG+ymwJBI9kDtbNiwAb7HrqGhobHnz5+fVVxcvEQkEv177969qRwOZ1hSSa5mjPQcigBFgCJwLQhQkn0t6NFzKQIUgRuOAPCcRx999IGKioo1p06dWuji4iLAMkHYOWfZ5/WIFJGSUbgZF4vFHWq1+mJAQMDmDz744JC/v3/PDQdvhDrw3HPP+fF4vIczMjKWV1RU3Gaz2aRgPMfW1wVSYhOLxZ1ubm5VDofDjGQVJbRIiJxl09Bd0jALCbLFYnFAJNtoNMq6u7t9jUajp81m45O5v7jh4uHh0SyTyRptNpsevLiGKMtlZK7wD4g9j8dziEQiIE6i7u5uOaQo/My7uX1EfKRJ9rx587Y+/fTT/ZLsn376ydtms6kyMzNldru97de//nV5UFAQmO/hONDMj4kqajQasdFodGtoAN8pcedtt93W6bxEgGS/+eabiw8dOvQGS7J5pPR7tEVfnb0U+ksTQYJLOp4Tsvw+8y9SBj+QlJxco0iU8TzACctgwfmorgFSTeI22jDs72diOEk2Xv/w4cOy06dPB5aXl0e5u7sXv/nmm9XDlUoyQj919LIUAYoARWBABCjJpouDIkARGLMIsHJx3qJFi55vbGxce+HChVg+n8/c9MONKzxjdBSjQ2SN3pG8mSVJNrQNRmje3t7t0dHRr7/77rvfRkRENI9Z4K/Q8S1btrjb7fbpaWlpc6qrq28zm83Ber1e0dvb6+ni4iJkQp9snrQzCYL3kWRjM6Rcl5Tb4rGAL5Rmw5x7V1dXplY1PEi5ONFtOBac4IcyBeTBUA4O1pcDiJLNZkOyzkNihX0bYbm47XIk++zZswKlUiny9vaGaCCERzH3nfy/nyHcxcXFom3bto0zm81hkZGRNplMVvrwww+X90eyN23atPjIkSOXkGySdA4F1JE+1tm4C9UNJGGG5QgpJKw64ZJ8cdgAgk0JmGsejweRf0iFZzYl4D32+vAmVi+AdQUbSrU1qnsAACAASURBVPAhgzOWvcJ1jBs+ZDoLblTgRhSZpz3SGF3N9QmSDSW8tu/ateuKcvHBtJOXl8dXKBRuKpUK8kNuqdKHg8GHHkMRoAiMHQQoyR47c0V7ShGgCDghwN7Euk6ZMuW1rq6udc3NzYFA4OBGFXJm4cYZSBD8A+ku3BiSuZlDJFlDwp+8NisptUqlUkNcXNzrmzdv3j1x4kTtkC44tg7mrFq1ivvMM88o6urqxpWXl0/NzMycW1lZmdDe3h5gMpn4MEcwP+hiDHJdlNeSET+I/GGkEd8n81cBFpxXMvKNKQEo4YVnkAPj3yjx7S+yeSWoyVQAbAfGAddHAoWS4xE2PmPk4k888UTKfffd9wu5OIsNE3lnx+RMrpmNg5KSEj6Hw1H96U9/urupqWlBXFzcGXd39/2bNm3KGIhkp6amMiQbjM9QLk5uMFwJw+v1OawJmBej0chEkXHjDf0SkOhCf7A8FR4LSgWBQGAXCARWV1dX+GeGf/i3w8F4z8F1eaCcsFqtfIvFwjebza4Wi0WAagryNwfk6WyqQ79RbXKDaSR/n64V/5Ei2cSaZbo41HSGax0XPZ8iQBGgCAwXApRkDxeS9DoUAYrAdUcAIkbgqTV58uTXOzo6gGT7AcnGSDZpQoSyYLzBHenOkpE9VrZskUgkPRMmTHh9y5Yte25Wkk3ULXeprq4WFhYWSktLS32Ki4uD29vbw7lcblxLS0tsa2trRGNjYwDM389m3ByGAMMD5ojMyUYii8c4b2AMRPLwOHwGEgVEC/7Ba+co52DXBJJ+OB/LHuEGAZJ+HMsIk2x7YmLi25cj2Wx/0GEfSDVE2+GZycfesWNHAJgF/vTTT0uhZrHNZvNZunTpAZVKteePf/zj8bFMssnoMG7WwOYKWa+bVSIwJJzP59vFYrHB3d293dPTs97d3V0rkUh0AoGgx+Fw6K1Wa4/ZbO62WCxGu91usVgszIKFsm0SiUQiEomkHA4HPCHEdrtdZjabQb0R2NLSEtjZ2akAvwgs8Qbn/X/2zgQ8yure/7PvSyYzWSYLmYQEsoBgwiIgGgS3661rwVofF2qvVntt+9z29vavVbAtxdp69aq02t5bUcAKEdtaK72uuKCIRDYJW4CE7DOZfd//z+91frmH1wlJIAnJzG+eZ57Zzvu+53zPmWQ+57exceK4FjETOq6j4a7J8W43lpA93mOh65ECpAApMBYKEGSPhap0TlKAFBgXBRCyZ8+evRog22q15gNhY0w2/phmLVjwGZvYaCw7inCXcgGNajQaf21t7arHH3986+zZs7vG8trpzo3Z2MGDtbOzU9rX1weZnuBR4vf7xcFgUByNRiGeOGE0GsG1OK5QKCDeOalSqSJGozFssVjA9XjQhFkMZMP/F9bFWrZ9+3bD8ePHp+7YsWPGsWPHLuju7p7t9XrLwuGwEdzI0YUbYRqTSrFQxLfuscml+C7LuLHCuptjTCyWbGKhZiTzwcYhs4mt2GvC+xMEstn/9Rxwb9u2TdLc3FzU0tIyt6en57KTJ08ucTgcxQCTK1as+BNkYf/JT37y0Rkge23Kko3e/yORb9zaomcBWrDRGwITlEml0iSEcohEIpdcLu/RaDSdubm5HWVlZW0Wi6Wjrq6u22AwBHJzc/06nS4glUrhedhkMsH3gFvfPT09YMlWOBwOVTAYVHq9XkVfX5+uq6vLeOTIkdJjx45Z+vv7p0QikSKA7lAoZAwGg1rYWcI1zoazjEfOiHOdAAayh51d/FyvSceTAqQAKTCZFCDInkyzRX0lBUiB0xRIQbbkwgsv5CC7r6+vAN5D1120WoJVFEtIwY9afuzlWMiKMZ+YTRjcTTUaDbiLP7Ru3bpXqquru8fiumc6J7j2glesw+GQO51OfTQazfF6vYb+/n51IBAAQFADZEul0oherwegCInF4hgkKtNqtXaNRmNXq9XOVPKsr4A2AnaqNBTGqEKXuLhWdP2EWOETJ04UO53OS/7whz9cd+zYsYUQsw20Bj/ewXUcEoqhRRst1RhnjzGuLFQj6MLFEKBxcwVBHOcC2sAaQQs56zI81Jyg9Zp1YWezQcM1MXM0jEOn0/WXlJSMVXZxzpI9WHZx/lhgflJzI3nttdeM+/btu+6vf/3rjQcOHFgqkUjEMA6ZTNZ38803b66pqXnlRz/60bAgm1+OaigNx+tz3EyDuYb1BDcIG4EbVh2ADaX8/PzuhoaGvfX19f87f/78z+bPn3+0tbXVN2fOnFHJbG2z2bTHjh0rtlqtM9avX3/VwYMHF0DWfYlEAuXPOC8OXDfQT7/fz61NzHY+XnqN5DoE2SNRi9qSAqRANipAkJ2Ns05jJgUyRAEGsle53e6Vdru9AMo6wfDQ0gjP0S0TwYh1Px4rKRCy0SollUpjWq2Wg+wnn3xyRJDNwutg/U21gbGL29raVPDDHhKNdXV15fb19Rna2tqMVqs1z2azGeEOWaRjsZhaLBZD0WkJlNBJJBIQVwrurwmJRBIFwE7FH0OCJ79UKnUDbOfn59vMZrNt6tSptqKioq6CgoLuZcuWWdlERam5QTflL/3AU6ANn7355pvK/v5+07Zt22qsVuucUCjU2NraWud0OgsRgtnkTwi3CNjQho2NxtdotUaLNT/Om213tu7iOAdsIit8DzcCAOzGoYTXsNzFsW+g+6lTp/SPP/747NbW1ssOHTp0qdfrnRaJRPJh/UCWdoDsb3zjG1sqKytf+fGPf3wmd/EBS/ZEhWxcHzAnsMkGr7F8F4RuFBQU9OXn5+8ymUyfGQyGPdXV1Z0XXHCBvaSkxFdXVxcdrXhg+G7t2LFD6XQ6dVu3bi212WzT4/F4fWdn57z+/v4qp9NpxASN0E/cBBzLxIzn+nePIPtcFaTjSQFSINMVIMjO9Bmm8ZECGaxACiyls2bNWuX1elf29/dzlmwEazarL1o62fjd8ZAGXZ9Tlmz/jBkzHj5byE71l4tD/+ijj5QOh0Pp8/kUnZ2d8pMnT2r7+/u1TqdTKxAI9BKJxCAWi42JRCI3Go3mhkKh3HA4nOvz+eCeEw6H5ZCoCazboCO4aqfuXLIhSPokkUg4d9iUBTSqUCiCarXap1ar7SqVyq5UKvslEklXMplsFwgEp6ZMmWK1WCz9l156qaO0tNRrsVggozVnxea5jnNDgevs3r1b//HHH1taWlou2rVr18VWq3V2OBy2hMNhRTweB0vfV6YJ4RjjqjHelo3BT2elZl25U+MaKM80krXAh3/Wss5mtQdL9hiX8Bo2ZP/tb39TdXd3m7Zv3w5wd6ndbl/S0dFRCeXVAOxAG4BshULRd8MNN3CQ/cADD5wRssPhMFcnGz0BJlqiLvyuA7Symbxh7RqNxqMVFRWfXnDBBR9ffPHF+2tra9sqKysBrHFDaCRLYlht8e/Vq6++avR4PJVbt25d1N7efpHdbp8L30twOecn7xvWic9DI4Ls8yA6XZIUIAUmlQIE2ZNquqizpAApwCrAQPZqt9t9Z29vb4FUKuV+9GPtWQQgjMFMB21joSrG+oLLZ8pFFdzFIfHZw0899dQZLdlouX7kkUeEtbW13N/plpYWod1uFy9evFhhMBj0oVCo0OfzFXq93oKurq68zs7OKd3d3Rar1Vrs8XgMPp9PEwgElOFwWAI1qnGMaM1na4ljzDO0YYERLZSoHR7LuF0n5XI5lHty5efnd9XU1HwxderUz2fMmLFHo9EcUqlUrvfffz+yevVqDrIZazsH7wg0+P6LL74476OPPrpq586dK3p6eooCgYAGA37ZrNDQn5RrM2edRG8Bdoyp8w9kcsb1gBCDEA6wcDZrAjdPAOAgYzT2A0EeY3/HOCY7uXjx4v+67777Nl9//fVps4uDDqtXrxZVVVWV9vT0zN2yZctdnZ2dDQ6HIw/rNONahdJUCoXCetVVV22ZMmVK09q1aweF7HfeeYezZLOQjRsXY/F9Opdz4hzD+CBZWX19/c5Zs2a9/tOf/nRjMpm0l5aWQrkobjMJN3/O5XrpjmXW/kCYxYEDBwo2bdq08NChQyt37dpV73A4zBCmDX8zzibr/Wj3+UznI8geT7XpWqQAKTAZFSDInoyzRn0mBUgBTgE+ZFut1oHs4nyJ+EmxxlpChC0EfpFIBCW8/DNnzhwUsrEk2dGjR/V2uz3H6XSCu7exu7vb2NfXB+7epp6eHhO4l0YiEX08Htclk0mIo5YlEglVIpFQgjUskUjAazHc4ZypOzdkdEHlZ15Ppwe2Rcsx+xqBCizeAoEgKhKJQiqVyiOVSp1gDS0sLDwyffr0z6+66qq9ZWVlxxsaGvxCoTDGJF/jTsGUl0q+9NJLOXv27Cnt7u6utdlsjd3d3fPb29tnxGIxiCWHWHEulhqgGjYu4DlaKFlPBRwLa1nlW7HPBQj5Flt2M4LdpDjbxGdY1oydE9Z1ODUfUD8qCTHZ3/nOd9JCNnh1fPLJJ/J9+/bVb9u27bKDBw9e7fP5KkKhkAHWDGuBTm0SQJI769e+9rUtFRUVTUNkF197vizZbJgA61XAvs/OA2yEgKaQMby6uvozo9H4V7Bi33fffSchv4BQKMT64WP6Z4HNvA9eHMeOHZO/9tpr+e3t7dNaWlquO3Xq1KXt7e0XoGs7uwHEJtdDAE+3psd0AMzJCbLHS2m6DilACkxWBQiyJ+vMUb9JAVLgNMiGOtkA2V8m7BUNxOsiTJ2v+Eb8QSwSiaKpmOxBIXvTpk0Gu91ueeedd2Z6vd5SgUAA7t4ARIZIJGIIh8MGv9+f4/f7NdFoVBGJRKTgUs23NLNu8nwwHotlg/HSqSzqCblcHs7JyenNyck5rNfrD6hUqgMlJSXHFy9e3DF79mxrXV0dupFz3J+Cf85NF5KiSaVS3e9///uGgwcPXtTW1rbI6XRWhUKhgmg0quS7iLOeCjBWBN4zxVuni6U+G134GzcIPXgumJecnJz+4uLiESU+40M2f+2mrPCcdwBYstNBNgDc5s2bCzs7O6vb2tqWtbW1Le7q6qqH+GDQnAU47Hc8HgfItl133XWbKyoqXvnpT3/6AV+Xffv2laxdu/aKt99++7zFZMOcs3kV+Anw4DVqCM9T89BVWFj46eWXX741Jydn5+WXX94xWonNRrJ2+NZymA+bzaZYs2bNov3791954sSJG10uV140GlWxruPsRlc6K/d4/30jyB7JrFNbUoAUyEYFCLKzcdZpzKRAhijAWrInCWT76+rqALK3pssu/swzz9R5PJ6vvfTSSzf29vZOh2zf4Oodj8chXnrAcouu3izcoiv3eP/YhqUEQAP3YDA4UOsawV+pVPorKiqOT58+/YP58+e/p1KpPpHJZM4777wzklqGXNbxNPAhfO2118zxeHzuM888c/OJEycustlsJfF4XAy7KGydawQQTB6F14bzY1wuQlkK6E+D8ZF8HRDQ0T2cdUOHPrGZxuH52cRkp7Nks31ESzaIxrdkg47bt28Xgzv4Bx98cHF3d/fNH3744SKHw1GIGatRE7YMGY4HIPvaa6/dXFVVtWWomGws4TVeic9YV3ycT36CQ0xyCC7XqbmA3ALxurq6bTNmzHj1d7/73SZILj6WsdcjWU/YNplMSr/zne8scLvd97z33nsXezyeErlcLmIt2GyZL3bzDHMSnE3Yw9n0FTcuIaekTqejEl5nKyIdRwqQAhmtAEF2Rk8vDY4UyGwFMg2yH3300Vlut/vrL7744tftdnulWCwGoOT+TmPcNEIeC0holeQD9nglosJM3mwsKfPDPy4SiQJKpdJhMBjaqqurd1RVVb27cuXKvQcOHHAtX74cE03BOLna2ghAzz//vEIul+vff//96T09PfN9Pt/lLS0tszweTx4kaUPQBndgFp7RAohaoXasWzccwwLzcL8pcC4YG+vSixZ0LDmGGw8ARWdTwutMkM1Y6IGxvwLZO3fu1AUCgdInn3zy2uPHj1/a29s7KxaLGRKJhJy/HlhQYyH7uuuue7mysrJpMkA2bi6B5mx9aZgLeK1QKFxlZWWtxcXFzy9atOitf//3f28drazhw10zQ7XDEIpf//rX+S6Xa+brr79+j9VqvdjtdkP4y0CeBHZ8rLcOvk+QPZTS9DkpQAqQAuOnAEH2+GlNVyIFSIFRVoDNLu7xeFZOAnfxM1qyf/azn13o9XpXvPDCCytcLlcFgBz+yOZDBGNNGgDM8XANTzeFrFWRjfVGt1aMn06VTWrV6/Ufm83mjy+77LLmvLy87uXLl3tT5z0NstG6bbPZ1M8++2x5R0dHw969ey9xuVx1oVCoCDYgEHqhxHY8HpdHIhFwpQegHCjlhhZ/uIZcLg/KZLJQPB5PpECF+z8IwDqc5Zk6F1hHIS6BOy4Wi4HLvhxc+AH+EfzONrv4UJCN/YVrL168+InvfOc7W2644YZd69atK/30009nnDp1alFvb2+j0+msttvtRtj8gHNiMrbB3NwB1lLu4sOB7F+mLNmwF3RWWdqHo3e6NmzsNXyOwIlWbNyUEovFEYPBcGTBggV/Liws/Nv3vve9L8rLy0Nne92xOg7rl0OoRG9vr3bdunXfOHr06LVtbW1LwFEEFhQbe44bSvh9Z8c9Vn3kn5fcxcdLaboOKUAKTFYFCLIn68xRv0kBUoCNyV6VchcvnOAx2VB/d9Vg7uJr1qyZDZC9fv16gOypANmY+RnjUFnrLB+Wzhd4I8AFAgFuVUK/4Q7Qhq7baIGFx5ycHEdRUdHByy67DOJjP4xEIkcbGxtDjY2NYNVm3cfRus1lZAZw3rx587zPPvts0ZEjRxaEw2EuthhuCoUiDpY/q9Va0dfXlwclyjA2F2EfrNcmk6nLbDZ3SqXSILidw3qJxSAfG3cb8luF5c2AevCgQCAApdMKnE5n8ZenFHL/W0OhEOcuXlZWdk4x2YMADlw+AZD9rW9969WDBw8eiMViV+7cufOf9+zZc30kElFD3XMGOLk5YbOqD2bJBnfxqVOnNg0Rkz3ukM3G0uNcIWCyXgnwHmzs5ObmQj33dx977LE1FoulvaqqyjPkBJ+nBmxFgWXLllWtWbPm659//vkPQqGQLh6Py3AzAb/j7Hcf3f+Hs35Ha3gE2aOlJJ2HFCAFMlUBguxMnVkaFymQBQrwLNmQ+GzSQ7bb7eYg2+v1TlUqlVC7mLMSojsvW8qKn2iLTY4E089alcfrBzha3FgXVtwggD6lsoNDPWI/ZCGvrKz8pL6+/oMbbrjhg7q6ut7CwkI/Ll1eyS+OgJuamnTNzc36AwcO6MFqjK7icrk8KZVK5/v9/hv27t17UTAYzEWtsOQXaGCxWF6/+uqrX+3q6joOHsYSiUQcDAYTkPQrBdBD/l8Ui8VcGzgGHk0m0+wvvvhi2aFDh/45Go1yGd1xDFjCy2KxPPjLX/5yX1VVVZj/1Xzuuefm79q164ampqa7otGoaTBLNs9TATYkYpdccsl/X3nllc1tbW3yt95662t2u312KBTKg9h1tICCRR21xxhfdu2w6wtjsicqZOOmAb80H7yP2dJhvmFdzJgx472GhoY/33DDDS8olcrAkiVLIOHehL2h2/ibb76p3Lhx46VWq/Xuffv2XeTz+SCh42nl9di8A+ejTjlB9oRdRtQxUoAUmCAKDPljYoL0k7pBCpACpMBXFMg0yF61atVsv9/PuYsDZKtUKgEAEsZcww9rdB9nEyKxwqSzbo/10mETj6HVmK1TjvGxaFkGAEplIk+aTKZ2o9H4hVar3VVeXt48f/78lurq6s7GxkYsq8T/P4U1tr+SLO1b3/rWMrfb/e3333//Mr/fnwewiv1BKJk+ffr63/zmN88plcqDixYtAuAFt3KMCx9SqtbWVmFlZSXXrrW1FTYNINHY4o0bN6749NNPV6bc1DFjOmfJLioq2guQvWXLlr1CoRATvg1caziQnSbenoPsysrKj/Ly8qxutzu/ra1tZiAQyEPLJl4ANzlYt2L+Bk1q04BzF5+olmwcD+vdAePAucUYfSgpJ5PJ/LNnz/7jjTfeuDUvL+9TiP2faLHY/MXGlLdLPvTQQ9O8Xu+Vf/3rX+9wOp11yWSS88zAjTN+RQE413htpDHXosRnQ/7FoAakACmQrQoQZGfrzNO4SYEMUGASQra3rq5u9WDu4gDZ4C6+YcOGFR6PZ6pCoeAscnDDuFd+3DVrrcYfv2yb8YJuvA5rYTwT5EEfAYpSCcig5JezpqbmrVmzZr0pl8vfmz59uuu2224LQQ1jFlxTtbX5LuXc63vvvXeZw+G466233gLIzkfoYq3rVVVVf3z66ad/Z7PZDq5YsSJ4tl8Dxlot3Lhx4yV/+MMfbtmxY8fdMGeYgIqtk32ulmw+ZKd0SKjVai6eHUq7wcYGbsjgWoDX4BEBj+BCzSbMYpPnTQbIxjWGY2QT2aU2bbjNG4VC4S0pKTlRVlb2mxdffPHver3endILIHXomICzXRTneBwL2UeOHNF8/vnn5b/4xS8ecjgcjT6fz4SQzZ+3c7zsWR1Oluyzko0OIgVIgSxSgCA7iyabhkoKZJoCmQjZYMl+6aWXBmKywZINP6ohnhbBic0yzMIXa51EsBzM4j2aawH7AMAM4IPuzph1HN1ZWfBj+yoSiRISiSQmkUhcOp2u9cILL9wBwH377bfvq6ystKaOw/9XmByNgyUGTASPPvpoQ3t7+40vv/zyLcFgsFShUECANAde6EI8ffr059etW/esRCI5sGDBAkiCBV7Vw7Zko24I2U1NTaJoNHrJ73//e4Dsf4F5YscPluySkpJhx2THYjHOXXwwqyRvvpNisZiz+CcSCQk/AR32lS1fxmag5m/YYOKziWrJZjXhx2CjNwWMOScnp6OxsfEfer3+xXXr1u1MleyasHCd7ruYTCbFTzzxhP6DDz743rFjx649efLkheymFbtZMp4WbGb9c8uOSniN5l9SOhcpQApkkgIE2Zk0mzQWUiDLFMh0yMa6y/CDGl2fMZkYCxksvMJzFqT4cdpjsUQQ1sCSinHQKfBDt/CBDQLsK/aDn3xLLpd7wYVcrVZ/ajabP4Ws2QqF4tQ3v/lNN8BwunraWPrriSeeKOro6Jj5zjvvXO31eudGIpFpHo9Hn0wmJXA92LCYNm3a888888zvZDLZFynIPifr5pYtW8QA2f/zP/9zy8cff/wvOH54hE0HKOFVWlo66pCdDqxYiz2uF2iHrvtsbXHQY7JBNguZ/A0FeA3jhE0Ho9F48I477vi90Wh88/vf//6xsVjz43HO+++/X65Wq69/9913bz5w4MD1kAsA5hPGiiXk+PXfx6NfzHeYIHu8BKfrkAKkwKRTgCB70k0ZdZgUIAVQgUyF7I0bN97sdru5El4YR4vgjNZhtGQhWLGWPPyMhe807sajupDQYpwuAzTGCKNVnV9yCUEQrfWQlVur1bqKioq+uPLKK/9XJBK9J5FIjt50002u119/Pb569WoOtlMJvgfqa8OAtm/fLo/FYjUvvPDCsv3791916tSp6bFYDJKgKUKhEMRT//HJJ5/8ncvlOid3cRQPIDsYDF6yYcOGW3bu3PltYFeMmwf3bLBknwtkn8ndn3Wfhv5AqS5YH6CfXC7nNjzYGuGppHPce5MVsjEBGPs9wPUFmyhKpTJoNBp3PvTQQz8vLy//4pJLLrGN6kIfx5O99957Er/fP+tXv/rVrXv27LlPLBZL4/E4ZMM/DbLZuRyv7pG7+HgpTdchBUiByaoAQfZknTnqNylACkzGEl5njMmGEl4ul+tmiMnGOtkjmeZ0yaxGcvz5bMv2PZXYCtzHg3K53DVt2rSPa2tr37vnnnv+Nx6PW+fMmfNlrbDUjY1lfeSRR4QLFixQfvjhh/lWq7Wqv7//isOHDy8GC3coFJJXVVWtX7du3e/kcvnBhQsXnnVMdjrI/uSTT76dKuHFuXsDDA0Hsp955pn5n3/++Q1bt27lsouz7vUjmRM2RID1ZsBz4Oe4+TLZYrJxA4fdeMJNBNw4yMvL6yksLHzrtttue/iaa67ps1gs4Ykch32m+YVcBEeOHCn813/915tbW1t/5HA4jLFYTI6bCrhxhrHp4+k2TpA9km8mtSUFSIFsVIAgOxtnncZMCmSIApPQkj1knewzQTabXXg8f1CP93JhxwYpxHNzczsNBkOL0Wj8dPr06Z9Nnz695Qc/+EE7xIQy1mx+NyV//vOfdZ999ln1nj175vX09Fxkt9vry8vL/7Fq1aoXVSrVF6MJ2S+88AK4i38bXHrRUo+QXVxcvLesrOynjz766N50JbwQsl955ZW7ICb7bCF7JPPET5AGx070mGyESswujt4T6MUB74P1eurUqa8tWrTosf/4j//wnk28/Uh0HMu28Petp6dHuXLlyuttNtuPTp48WRkOh7UI1XBtNvHheP5NIMgey5mnc5MCpEAmKECQnQmzSGMgBbJUAYLszJx4PixAbLNCoQiaTCbHtGnT3iktLX1XLBZ/WFZWZl+2bFmgoaEhxsA2lOSCJFdcxnFQ6L333ivZvXv3hW+88cYNxcXFh+644463JRLJoSVLlkDis3O6obv4H//4Rw6yoaQXuGUDCGFMttls3ldeXv7gK6+8AiW8vlInOwXZ17/yyivfPlOd7HPqKO/gyQjZ/PGzrvTwHPSura19f86cOVuj0egf1q9ff87zO5qan+25/umf/umqSCTyg/3798/x+/1GviX7TCEFZ3vNoY4jyB5KIfqcFCAFsl0BguxsXwE0flJgEitAkD2JJ+8MXedDdsqCn4CkVlKp1Gs0Gltra2t3zp49+7Wvfe1r++vr67m4W9ZtnHUR3r17t3Tnzp26vr6+KVOnTo3MmzfPUVNTYxMKhbFzVRAhe/369beAuzhANgA2WBghJlur1dqLior2V1VVPfjYY4/tKS8v/wr4IWQ3knq8HwAAIABJREFUNTV9G7OLn2u/hjp+MkM2v+43vg4EAoI5c+a8cdVVV21xOp0vP/3001/Z0BhKl4n4+R133LE0EAjc++GHHy72eDz5sLZwjWEiNOj3WOddYLUhyJ6IK4X6RAqQAhNJAYLsiTQb1BdSgBQYkQIE2SOSa1I1ZkEbLXfgzgzPlUqlx2AwdBkMhk9LSko+veSSSz7T6XTH77zzTg9asNnSXinLtrCvr0/pcrlEOp0ubjaboQb3iEt38UVks4vv2LGDcxcHAMLs4lqt1pmfn/9FdXX1A1u2bGkWCoVfiQMnS/bwliaGS4C+/ASA8Boge/78+Vtvvvnml10u12uPPPJIZHhnntit7r///sU+n2/ltm3brnS73UVYYx6hmi3pN14jYSDbYTabNzU1NT3R3t7eNxreIeM1BroOKUAKkAJjqQBB9liqS+cmBUiBMVWAIHtM5T2vJ+dDNnQGS4SlYnCTOTk5brASz5gx412JRPJufn5+68qVKx2bNm2Krlq1Cg5B13Eudhve4JcAO9dB8iEbUp4DBCIIqtVqt8lkOjR79uz/2LRp026hUHha0ja4PkH28GYhHWRjWTJYG+A5MH/+/I0rV678U2dn59uZAtkPPfTQfKfTecsrr7xyo8vlKmVL+k0ASzZB9vCWL7UiBUiBLFOAIDvLJpyGSwpkkgIE2Zk0m+nHgkmtsP40xN1idulkMhkXCoUhhULhrKmp2TVz5sw377vvvre0Wm03uGUjUOOZ2SRpo5VxGiH7+eefH6iTjVm7oa8qlcpjMpkOX3DBBT/esmXLZwDZWH4M+zVJIXttKBQyQQZsNhHXWK5I3HhB93C4Fpa5A8gGi+6cOXP+5957793k8/k+uueee6Jj2Z/xOveaNWvqHQ7HTZs2bbrF7XZbMLleatOIy2QPt/PkLk6QPV4Lga5DCpACk0oBguxJNV3UWVKAFGAVYCD7YY/Hs9JqtRYKhZDcWcT94MQfn2gBOx/qYQZkkUgU1Wq1/rq6uoefeuqprdXV1d38/gxVwitbsovzdWEtmABTcIM5huep2OK4wWDo1Wq1LTk5Oc0NDQ2fzJ49u+XSSy/tqKysBNDiKIQFaz7onu3awJhsyC7+ySef/AtaseF8ANng2m40Gg/X1dX9eN26dZ8VFRVNeEv2dddd93JlZWXTAw888CFfl3379pWsXbv2irfffnvcIZv33efmHiCbdR1vaGh47r777tuYl5e3c8mSJeccc3+262I0j1u7du2FDofjxg0bNnzT4/GUA2QjUI9nRnG+/pDdX6fTEWSP5mTTuUgBUiBjFCDIzpippIGQAtmnAEF2dsw5QjbGZiNkg0UbIQOAWyaTBbVarbWmpuYDs9n8gVqt3lVXV9fV2NgI9cmjfMhG9c7Fqg2Q7fP5Lk1BNiQ+4zYAAIJSJbE8ubm5h2fMmEGQPUrLlS3dBXrjZotUKk3W19c/+/3vf3+jXq/flYGQfStANowZbqyXB74eJYmHPA3FZA8pETUgBUiBLFeAIDvLFwANnxSYzAoQZE/m2Rt+3wGmEazRQwFdxgFo4R6JRDhLNWQgTyaTQYjPrqmp+bSxsfHVSy655MC8efN6UyDC/d9jXMfBKnjWCdAAsj0eT+OGDRu+ASW8WMsiWLU1Go3XYDAcmT179r8/88wznxUWFvoHcxefKNnFJ7IlG+tCw/xjvWzcbAG958yZ87tMhGy73X4TWLK9Xi8H2ayXDoYnjKdVmyB7+H+/qCUpQApkpwIE2dk57zRqUiAjFCDIzohp5AZxJvdXBGuwDANIwQ2ew/toNUYQx7Yymcyj0Wh69Hr9fovFsmvevHm76+vrD9fW1rosFks4BdmQGA3+D55WV3skqq5evVrU0NAws6mp6Yq9e/feGI/HtX6/X+v1ejXRaFQtk8nCer2+tb6+/t/XrVu3Kz8/38fGikM/fvvb3160e/fu65uamu6aCCW8JipkI0QCZCJk89fN3Llzf/fDH/5wI3gxZKolG78DbIx6agNpJEv3nNoSZJ+TfHQwKUAKZIECBNlZMMk0RFIgUxUgyM6cmWWTNvEtcgAVAFUQ44yusgjZaNlklcB47UQikVCpVEGz2dxSWVm5U6PRfJSfn39kxowZ3YsXL/ZUVlbGMV4b4kvPxm0c1mBzc3PhW2+9VXP06NE5fr8/12q1Gvv6+kx+v98klUpFGo2mt6Gh4Te//OUv96MlOwX3sFGQeOaZZxZ8/vnnN2zZsmVlNBo1ocs5f3aHG4fL5iNIt0L4ibLYTQylUmkbDmS/8847AzHZ/LkbqwRcLGTzs2qj63S2QDY7h+nWBf+9odoP9y8JrhWC7OEqRu1IAVIgWxUgyM7WmadxkwIZoABBdgZM4hgMAQAcQBXgPBKJJGOxWFQqlfosFktbXV3dh1ddddV2i8Wy22Kx9EMWcrYLkC0ba20Pt2vgMt7b2yvZu3evTCKRiHJyctT5+fk5MpksTygU6qVSqXDKlCnNV199tVUoFHK1m9lSYv/1X/+1EKzgmzdvvjMUChmh7zKZjLPSs3G36BYM4+NbMVnLPmbfRjdqPA5jmeH6CEvoDYDJw1Qqle36669/uaKi4rTEZ+jivnPnzpInn3zyinfffXdtJBIxxeNxEbruw3nxOW5+DHdjYLhas+14wMfp1dDQkJHu4v39/Tdu3LjxVr67OLuhwm5u8N3qWchGSzhqiWsMH/H9dJ4icCzGwMMGkV6vdxQVFb20efPm/6Q62WeziukYUoAUyFQFCLIzdWZpXKRAFihAkJ0Fk3yWQ2SBIVVXOC6TyXxSqbRHrVafLCwsPFReXn6gvr6+ZeHChScaGho8AMCjkXU8mUxKenp6ZB0dHUq32y2PxWJQ5sp5xRVXhIRCIVjPT7tt3Lhx5v79+5e+8cYbt/j9/qJwOKyKRqPyYDAoj0QiEhgLZi1nwZt/HnSdR9hls9GnwJ4DUfwcHtkkbQDacrmcg+xp06alzS4OkP2f//mfV7z55ptrwbUdToFwx7dgs3HDLLid5ZQOHMaOiz/PmQ7ZkPgMMqrzvRFwftNZrNnPEL7THc9CNztHbFt2/YCnSE5ODkH2uS5oOp4UIAUyUgGC7IycVhoUKZAdChBkZ8c8j3SUmNkbLG5oFYbHUCjEJUgTi8WR4uJia35+/oH8/Pw9Uql0n0aj6TAajdZLLrnEbTabAw0NDRC3/RUgTtcX1io9WF/P1ObNN98sOnjwYO2777672Ol0mgOBgB7uXq9XF4lENAKBQCESiRTwGI/H4S6BezKZFMfjcWEikeD+lwOI8y3HaI1E92pMmsVPJgevQa90kM32HUp4rVmz5op//OMfj8bjcSOWzMNxs5sAfMsotBkNV/JshewNGzZwlmysDc4PlWAt0qh1ujYI3Wwb/rpFCznfGwI3ZuD9eDyeMBgMdrBkv/jii08qFIpevmfISL+71J4UIAVIgUxRgCA7U2aSxkEKZKECBNlZOOnDHDJCJQtkbBbmZDIJhjiwbvuLi4t7KyoqDtbU1OydM2fOZyUlJa0LFy7sEQgEweHEafMTmaUgBrKWc/W58ZZq95Vs5pA8zWw2i19//XXpggULlHl5eTq9Xp/n8XjyvF5vgdPpLO7s7Czp6+sr6enpKXa73QDh2kgkog2Hw5JIJCICQE5Z7DlXcwQp1pU7nXs1tkMXc4jJvv766zdPnTq16Sc/+ckH2OcUkCUAsh977LEr3nrrrUfD4bAxkUhwpvF0MMZCNT9u+0yW1KGmmCBbeppbPuqF4QA4F6gTZuBn1iH3lLVq4/cF32O/K3A+dDHHOvUYk63X6wGy/7Rp06Yn5XJ5D0H2UKuXPicFSIFsUYAgO1tmmsZJCmSgAikAkMyaNWuVx+NZabVaC9GyxsYq4o/N8yEB/vAViURRrVbrr6ure/ipp57aWl1d3c3vz5o1a2a7XK6bN2zYsMLlclWAxYoHaaf9MD4f45ks1xwsVpW1rqbWRVyhUIQUCoVTJpPZJRKJTaVSnczNzT01ZcqU7ilTpvRVVlb2VVdX9xUUFPgSiURwuCDBB9RhWrzFbW1tMPGKI0eOKO12u7Kvr0998uRJdXd3t6a/v18rFouNUqk0VyAQ5MZiMUM4HDZEIhGj3+83BoNBeK0JhULyUCgki0ajUhacWNhFt2NwE0dQTsVk/6miouKVBx544MNUjDqXgR1icFnIDgQCRojJZi3obJZ3FuT465gge/jfpLVr114IMdloyUZvBNZKnS7+fjCN+ZsUfPjGeWPd/Vkgx/UiEokSGo3GYTabX3r11VefEAgEZMke/rRSS1KAFMhwBQiyM3yCaXikQCYrgJA9c+bMVT6fjyA7kyd7BGPjxwgP5kYLp0QLHlp8AWC0Wm2/Xq/vNRqNvUqlsksul3cJBAK494tEIodEInEZjcZwUVFRsLKyMlRRURFQq9VhsVgcrauri2HiND5kp673FQv3mYaGMeLMuUSdnZ06h8Oh7+vr03d1deV0dXUZe3t789ra2grsdrvJ4/EYQ6GQPhKJ6GKxGOduLhAIlMlkUgnu5rFYTBaLxSQioKREQggu56gDWLJvuOGGP5WXl7/y8MMPI2RzXQTIZhOfQfZ0gGyAddZNnQ937IbHCKZx0KbZbskeCrL5cdfsJiN+F9LFZrOeDmw73ICBz+Ha0Wg0CZ+LxeIkQfZorGg6BylACmSiAgTZmTirNCZSIEsUIMjOkoke4TBZyE7Fjg7U1WYTiKH1L83pASLAn5y7i8XimEqlgnrXtry8vL7i4uLuvLy8XrPZ3D116tSO/Pz89vLy8t78/HynVqv1CQSCKADpCLt9WnMW0FNlxrj/13BetIg/8sgjwtraWu79lpYW4cGDB0VXXXWV3Gw265PJZKHf7y9wuVwFHR0dRd3d3SW9vb2l4G4OIO52u3WQXA1gG1y+Wci+7rrrNpeXlzetWbPmA9wY+PLSp0N2KBQywbEAXuhGjACIGxisNTTV/6+4KY9Up2yHbIzJRj1ZXVnd2fXNj81mN5jgM/xegLZgqWas1dxnkM8A2imVSshrAKEW8DppMBgcxcXFkF38CcouPtKVTO1JAVIgkxUgyM7k2aWxkQIZrgBBdoZP8FkOL52b61CZr/kJwxDkUufiXKUlEklIKpWGZDJZUCQSBcVicUAsFvuTyaRbLBa7lEqlExJBFRYW2svLy/tNJhMAiKOkpMRZXFzs1mq1AZPJFE5B+Gnx2umGyrqXp9y2OZ5ioBufw7mgj7A3wLmbd3Z2Kv1+v8JqtSrgeWdnp9pms2kBrsHFXCAQQKmw3GQymRuNRo3g+g3u5iKRKL506dK3ioqKXvvxj3+8gx9vDu7ia9euvfIf//jHryKRSC6QN0AflgDDWN6znLphHZaNkO1wOG588cUXb8Xs4oO55fPjsQeDa5wnLMfFC6mB9ZSQy+URuVwOoRQBnU5n02g0VrVabRWJRF6hUMh5bGg0mpDBYGhetWrVO729vZ45c+ZEhzWJ1IgUIAVIgQxXgCA7wyeYhkcKZLICBNmZPLtnPzaEbDgDWyOatfLh2VnXZjajMh6L72FtavbcKYBJikSimEwmAxjx63Q6l1ardWi1WrtUKoUYb3Ax7w8Ggw6hUOjSaDSunJwcj9Fo9BcVFYVKSkqCcLdYLCGz2Qw1tOPpkq0xlu10kM0Nja3vzcIxoyQkKQMAV/X39+tsNltOe3t7bm9vb+6JEyfyrFZrHriSL1iw4HBeXl7zd7/73UP8OPIUZEPis7XBYHDAko3uxWzCLG5HQCg87Z7OdX+kM52tkA0x2QDZ4C2QDrJBR4Rs0J3d8EinO0QLQAZ9qVQaEYvFIYlEAon+YOOI2zyCsnMQGqFQKFxTpkzphQSBJSUlfWaz2afT6aIA6LD5BBnpr7322k6BQBA5Vw+Oka4Fak8KkAKkwERVgCB7os4M9YsUIAWGVIAge0iJsrYBAAZmRAZABiCAR3yfLTWF2ZMxwzYCNYJKuszY/PdYCyILNDKZDBKrRQBg9Ho9JInqtVgs7fn5+V2FhYVdFRUVXXl5eV1FRUU9kUjEMX36dAAdsBIOeeOB92mgzSQsg//z4LrOWc7PlC09mUxCwjXMtgcu71+xSu7du7f4iSeeWLp9+/af2+32wmAwyKUyR10hszm6nrMwjMnR2Bh4dhNkyMEyDbIdstFdnPW2wM0MzC2AaxdLs8H6Z8u2QRiERCKJ6fX6oMlkskP4Q1FR0amCgoJTxcXFHbAuTSZTm8Vi6S0tLXWmAHpYJe1GMpfUlhQgBUiBTFWAIDtTZ5bGRQpkgQIE2VkwyWcxRJ7r65BnYNuzJa/4ZYzY1+kyO/MvhHGrYrE4IRaL4xKJhLMYisXiYKo8WECpVPoFAoFHKBSCO7nDaDT2g7t5cXGxzWw2O6dMmQJgDm7okP3cZ7FYoH73gKt5Gos1/l+HR9adnGNstHgPIgoewwE73yoJ1zpy5IjmL3/5S8X+/fsv9/l8xcFgEJKs5UKGc7/fb/B4PJDpXB0Oh+WRSEScKvElxJhfNrnWkBMzSAOC7C9LeHGTlPy/qAP+5gZoLpFIohDeoFKpwPpsh6R+SqXSKpFI7CKRyBaLxfqkUimsLZdcLndCjXi4g2dFXl6eHx4tFgtstoDVe8gQh7OdUzqOFCAFSIFMU4AgO9NmlMZDCmSRAgTZWTTZIxgqCx4cWaZclvEUaGnG1/zM2KwFmwWXwSCbPV86qzdcBy3naCVPQVJSLpcnoLybRCIJazQan1qtdqtUKodare6Xy+UOqVTqgKzmkUjEHovFnHK53FVSUuIvKSkBGPJDjDe4mxcVFQX6+vpiDQ0N6ayNAEcsdHN8lnpvQJaUVoOCFH7fPvroI004HDb39vYauru7DZ2dnQa73W602WyQ5dwYi8X0sVgMYr91iURCnUwmtfAelBaLRqOQ3VzMnxPUje8Gzc5Rulh7VnvQuKGh4Xff//73N+r1+l1LliwZlkfACJbWeWn6+OOPX9jT03NTKibbwrNkQ2I+qPcegXwBIpEoAHd0+RaJRC6AaJ1O5zQajbbi4mJrUVERPDosFovdaDTaDQZDQCAQAExDvgAs10ZAfV5mmy5KCpACmaIAQXamzCSNgxTIQgUIsrNw0jNgyPyM2xzxpiySmEAslfEZ4mWjkHxKpVIFdTqdu6CgoK+oqKgD7maz+VRubq5Nr9f3abXaTpvN5vH7/YH29vZYbW0tB0ktLS3JVatWJSET+apVq7hLpRKkfeX//1CWynQlyZiNC6nNZoNs5QqPx6Pt6urK6+vr47KZHz9+vOLEiRM18Njf35/v9/vVYrFYKBKJuDuMHd3NIxEIS/9yYwQ3JthNCoRqtgQVapdpkI3l2x577LF6q9X69fXr13/D7XaXSaVSyHoPssAGTUytVkPyMWdeXp6toKAA1kVnaWlph8Vigcz3p6ZPn96TSCR8oVDIX1VVBSD9lVtqbiFmH9dF2twAGfD1oyGQAqQAKTAuChBkj4vMdBFSgBQYCwUIssdCVTrneCjAt7az4M0kEeOAGCyVkKAKgEokEkE97mAqSVVQKpX6ZDKZRyqVQsI1F2Q3h+RUxcXFcO8vLi6GzOZQ19tTXFzsFQgEsXNJTsXEeqeTCX5TiHp6eiRHjhyRORwOZXd3t+LEiROajo6OHLFYXB4MBqv8fv/0np6eWrvdXuLxePSshwDEdMMNs16nizU+g7t4sqGh4dlMsGQz0Jt48sknZzkcjmv//Oc/Xw11z00mkw0S60kkEqtQKOxNJpOQ8dslk8kgy70zPz8fPB2CpaWlA0n1SkpKwKoPXg6w+QIwzW24YKx+6vWAt8O5rJHx+P7QNUgBUoAUmOgKEGRP9Bmi/pECpMCgChBk0+LIRAXQRR3Gxo/9Rndz/Aws3eAqLJPJwkqlMqBSqdwajcYul8shqzlkNHcKhUJHMpnknmu1Wk9ubq63rKzMN2XKFF9RURG4moMlFDKdQ3boMya34iVbw98QCGsDLsZoFWfaiw4ePGjavXt3cUtLS/n+/ftn9Pb21no8nmqPxzMlGAxqwI1coVBwU4pJ6tK59mciZPMS1QlaW1vFarVa7Pf74zt27Cjp7++/cNu2bTVQo23KlCl9UBbObDbbKysrwXoNMfsBqVQaNpvNYKnmzNyDeSwwkA3N0tZz53s1QP9aW1ulIpFIcerUKWUkEpHGYjFRNBpN6PX6KMRu2+12f0NDA2zikKt5Jv5hojGRAqTAiBQgyB6RXNSYFCAFJpICBNkTaTaoLyNVgF+7G8EZIRPPh5m5OSJKJAbKNLEJ2waJCwfYiaeSXvkMBoPbZDL1mkymzsLCwnZwLc7JyenNycmxRqPR/p6eHs/7778faGhoSCSTyURRUVHy7rvvxszknFUd+sBYWVmYwueYXA0hj7OaspbR1atXi+66666cbdu2zTx27Nhlf//737/W29tbCW7kIvAfT7mKy+VyDraj0agALNzs2AdxF580lmx+/fFkMgkmfHFfX5+ooKAAJBN7vV4AWS6uXJxKla/T6UJQZmuwtca69A8Wd586lvv9x7dYw9zU1tYK8/LyhNu3bxc5HA5hW1ub2Gw2S2fNmqXLycnJDwQCBfF4XJtIJKRisTgsk8m8MpnM0dXVdSoQCHguvfTSSGNjI7mbj/QPArUnBUiBjFKAIDujppMGQwpklwIE2dk135k2Wj5k8xOw4Xj5QMl3NU+B72mZphkXbIDjmFQqhezmMYAikUgEoAalwiDTuU8ikbhlMplTr9e78vLy7OXl5WAphZrIVrCYgvUbXNJra2s9WMebn9WcB+DsVLHW7oHs5QcPHhTv3LlT09bWVtDZ2bngxIkTS3t6ei7t7e01xeNxOdSCZjORp0tOx89ULhKJJixkpyzVEhSms7NTLJVKAahhcwJAmtOptbVVUFlZmWhuboYkbtzUslCcsjynsz7zf8/xE9sNnIu1cDPzBpsh4uPHjxucTqfBarXmnDx5Mq+9vb2wq6vLfOrUKZPX6zVGIhH4PDcSiShgQ0ShUEDWcVhH7uLi4rZp06btuf7663cpFIqjV155JWTOpxspQAqQAlmpAEF2Vk47DZoUyAwFCLIzYx6zdRTpLNnp3KMRJhGmWfhmn+Ox8MjWpcZkatCWBdNUsjEAcLBGQjkxuHvVajXE+0KJJ8hu7gI3c3A3FwgETpPJ5CkpKfFYLBZvXl4euJsHcnJyQqks5wPu5oOUFkPIhkewdCZWr14tqa2tLX3rrbfmtra2NnZ2di5yuVxlwWBQn04f1GAiWrIZK/JANnfYTAiFQgD/0HUxxkG3trYKFQqFqKSkhPM2YGAaXp+xXBbPWj3gOcB8j77iVZD6TPzJJ59IlUql3OVyKRwOh+r48eO6kydP6ru7u3Ver1eTTCbzEokEbHTkJpNJQzgcNsE9EAjkQHb4WCym9Pl84C7ObRhApnPYxIHNm9zc3P6cnJyjeXl5u6uqqt4pKipqefDBB3uy9ftN4yYFSIHsVoAgO7vnn0ZPCkxqBQiyJ/X0UefTKJDO7ZsP2QiYLIQCVIM7NZM0jcvODTfwOIY7fA7t+GWvsB18zgK5WCxOKhSKmFKp9Gk0GrfBYPCYTKbugoKCzoKCglNarbZLo9H0ymSyfq/X67TZbN7u7u6AXq9PVFZWxqurqxNKpTLe2NiILudcYrSU1RbeG4DJY8eO6T766KOKbdu23XHgwIHLTp06VSsSiQBKuezjuEEwBGSPewkv3ExIWYcBPGGMMDZ4FPf398tMJlO8ra0tYbFYEKhh3GljoYfzpeDFxXOS8ACbc/W22Wwiv98PsfDinp4ecPlWGI1GnVqtBoiG+uYFDoejrLu7u8Jms5U6nc48m82W4/F4dH6/X4Pu+fAI7voA1OBhADf8DJ/DuoGbRCJJQFK2iy+++NXy8vJX586du3358uVRitMezsxSG1KAFMgkBQiyM2k2aSykQJYpQJCdZROeBcMF4AV4ZuOPcdgI1WwyNEyEhselA1IEVARsBFXW8g3vsedAYAcXbLBUikQiLru5UCgEd/MwuAgLBIKwRCIBAHdqNBpHbm6uo7Cw0JGXl2eF7OYpd/NueCwvL3cx1m387YGW7UQKCtUtLS3TP/jggxs6OjqWQ/mvRCKhALhjNwbOkPhs3CA75f7NbQKkIBegGV+D+zffzRtfc4/8pGQjhdB07vrQp56eHkUgEIA65rpTp04ZTpw4wbl7d3V1Ffb19ZkcDofJ7XbnB4NBXSQS0YDbt0AgUAoEArlIJJLFYjFJPB6HO1fLHG9smTRYGxg3j2uK2cRJQjI+pVJpLSsr+8vKlSv/pFAo9t1+++3kOp4Ff79oiKQAKfB/ChBk02ogBUiBSasAQfaknTrq+CAKDBWXzUIPm/iMBWcEoHTvsYCEWcxTNZcHwAmOYyB7AHDxPYT21HVicrk8qFAowNXcL5fLvUql0iWVSsHF3CkQCLqVSuWpKVOmtDU0NHTW1tb2LV26FFzPudMwkMqVljpy5IjqV7/61cL29vbrWlpargwGgwDaclauM0H2nDlznv3e9763Qa/X71qyZAmXNOxsbymQBss7mz2d/d2EpbA4qZka05zlfihw5ic/G04/Mcs3QLHdbld2dXWpDx8+nNPR0aGz2+06n8+XEwqFTJFIxBiPx3PAYg33SCSSGw6HtXgPhULyaDQKMM1dFjZY0KMB+4GbLuw6YrXHOubsxg5uhsBaKS4u3jVnzpzXpk+f/qevf/3rnTNmzPiyCDrdSAFSgBTIAgUIsrNgkmmIpECmKkCQnakzm73j4ruLIzDz4RuBF6y8ADvwmq0tjYnD0AWctVpDezaxGOv6y14HnmNsN9sGgQzfA1BD63skEuFci7FPKpXKk5+f31FTU3PIYrF8XFBQ8JlQKNwHcdx33303V+6J5/4MSb+M77zzzswtW7Z8v6enZ57L5Sr8Mun4lz9ZhoJ3JT/HAAAgAElEQVRsqJOt0+k+HQXIBt9oKZNsDN3Ah4ybHs4K5rman/Z7rKmpSbR8+XLhtm3bxB0dHeDuLenr6xPL5XKFRqPRyGSyXLFYbIpGowX9/f2W/v7+UrvdXuRyufIdDkee2+3ODQaDANIiWBc4lzDvCNP8zZh0c4x64zEw1+zaCYfD3LnhPbjDtWANwBwZDAYoM7Zn6dKla26//fY9F1xwAWy60I0UIAVIgaxQgCA7K6aZBkkKZKYCBNmZOa/ZOCoWIGH8/KRffCsyWhmZWNjTLM6sazlrqU6XpZuNyT5T/DPbByZ7+WnQC31nrycWi8HNPJxMJv1KpdJeXFy899prr/1fg8Hw/oIFCzrnzJkTTQPZkk8//dTY3t6+9I033rj5xIkTV0N8NlL2mepkz5079/cA2T09PZ/ec8890XNZS2nKYQ2cbjArNQvOKUBN+zvrTMd3dnYqhEKhyuPxaHp6eoypDOxFHR0d4PKdb7PZ8vv6+gohGVkymVQJhUIFWPtjsRiUAZMmEglZIpGQgNWb1Qpj+7EGORt2wOrEr9OO8f7QBjdPcC3AZ+z6wfPAOSC8QKPRtN90001PzZ07963bb7/90LnMBx1LCpACpMBkUoAgezLNFvWVFCAFTlOAIJsWRKYocCbI5sdOIxwB3CBkp8ooc8DLQi5fH3Tx5YM3Ahj/2HQu6XjOdJZleC9V2pmzaEP/MJkaQJder+8pLS09YDab/zF16tSPf/CDH7SUlJSAGzFaiTk2bWpqkup0uilr1669rb29/XaHw1EE8MjXia8NQPb999+/0eFw7Lz77rvBF5otITakC/dI1lOaDOqnHc6Pu2Y+hD5JbDabrLOzU2mz2TTHjh2D+Gl9T0+PxufzGd1ut9Hr9ZqkUimAtCGRSECmb0MkEtGHQiGt3++HmGqAazFujPCBGjdrWJhGa3W65HksIOM5EazZc7PeEWjVxs0V9lpQ31wul1uvu+66l6uqqpp++tOffjQSfaktKUAKkAKTWQGC7Mk8e9R3UiDLFSDIzvIFQMOfUAogYAFcwXOFQjHgOgybAAjbkEittrb204qKitevuuqqrWKxuPu2224LpAbDxkCLb7/99mt7enpWNjc3Lw6Hw3rGVR3czBMikQjusWQyCfdofX39C/fee+8Wt9vdfPfdd2MyMo4BU9nMzzqrN1/sVMz2AJvyIJpj3ObmZpHX6xXbbDZJV1eXpLOzU+L3+6EOuFalUumEQqFRLBYX+Hw+i8PhKLHb7QVOp9MMj/39/XmxWEwai8VEzEYF58KPngy4OYJAPZYLIt0GB3tddkMG2qZCB5zLli17u7i4+IWnn37672PZPzo3KUAKkAITSQGC7Ik0G9QXUoAUGJECDGSv9vl8d1qt1kKhUCjiZ1rmW+NGdJFzbIyxqiKRKKrVav11dXUPP/XUU1urq6u7+ades2bNbJfLdfOGDRtWuFyuCoi3ZW98N9lz7BodTgqMiQK4TgEGAbTgO5Cqp8y9hrrRKpXKV1xcfGDRokX/azabN//85z8/AdXGUiW+BjJxP/vss3W7d+++6i9/+cu/er3eUvjOy+XyhEwmi0ql0pBGo/Hl5ub2Go3GLoPB0FVdXf3BNddcs1sgEJxqaGj4MqtXKtP3UInIRioG3zWc911VuN1uZV9fn+rUqVP53d3dhZ2dnWbI8N3X11fQ09NTYrVa87xeL1ioVclkksvwnXL1liaTSalQKJQkEgkRGysN1+ADNvt3YaRjGG57NkEamyeA70mA0A3vwzFyudy1YMGC9/Py8v74wgsvvJbamBhVj4LhjoHakQKkACkwngoQZI+n2nQtUoAUGFUFCLJHVU46GSkwqgqgO3sqPncgORq6k2u12n6z2Xxo7ty5v122bNmOW265pYMXBy3YtWuX4S9/+cuMd999955AIGBOJBJxuVzuFggE9mQyaZdKpS6DweAoLS21l5WVOSoqKrouuugia3Nzs2/58uUDdbhHdWBfJl/jXL77+vpk3d3dKqfTqTt58qSus7NTf/z4cW1fX1+ez+czQdy0RCIxCIVCcPXOjcfj2kgkoguFQjnBYBBKbSmgbNaXYfhMzawUTLNu20ONgR/HP1T7kX7O9gW9Fviu6uw5YZ5lMplzyZIlbxYUFLz43HPPvUGQPVLVqT0pQApMVgUIsifrzFG/SQFSYOCH7syZM8mSTeuBFJiACrDJtqB7YN3GLNTxeDwpkUi8jY2NL9bX1/951apV76fcuqEplscSPvvss7lWq/XyZDKpVyqVYajBXVBQ0FVVVdVbVlbmEQgEENPNZSofTQkQ+Jubm8WRSARiqCXHjx+Xtre3Sz0ejywUCqnVanWOUqk0ymQycyAQKPL5fOb+/v4Cm81W7HQ6Cz0ejyEajcqi0agYSmZh/1hrMLrA85PVYdZ2Ns6ZhVp2rGMN2Gx2cfa6bKI8fow+hA1IpVLbtdde21RVVbV59erVH5zJ+j+ac0fnIgVIAVLgfCtAkH2+Z4CuTwqQAmetAFmyz1o6OpAUGBMFMDwCs09D8jN4DxOgAaxhQjRoA2EUJSUlh4qKijY1NTX9Qa/XewUCAbp5c33cvn27+P3339eFw2GxVqtNVFZWxpRKZdRsNkdTLuGc+zH8PRgOaA8X9JLJJFiq5Q6HQ2ez2UwAz21tbZDhu6C3t7fw+PHjUxwOR4HX6831+Xzg7q2Au0gkgsze0ng8Dpm+ISs6l+U7kUhALMtpNanP5G7Nj3FOB9h8i/KYTCrvpPwM9dyOSGpcmHgvFYOfkEqlp2655ZbfLF269K0bb7zx6Hj0j65BCpACpMBEUIAgeyLMAvWBFCAFzkoBguyzko0OIgXGXAGER35+BAQyJsYXQMxbUlLy2gMPPPBcNBo9cOuttwJoA5yf0TLNZPceyCCOxwwRL821T4E5WMxlhw8fVnd1dek7Ojp0TqdTC9m+u7u7jf39/aZwOJwTj8dzhUJhbiwW08diMV00GtUFg8GcSCSiiUajSrBUQ/x0yu37tBJsfCsz+zqdO/iZckjwXbZT4+DmcySu5We7AFioZzOV8yEb5ler1boLCgr2XXHFFb9YsWLF5/Pnz7ef7XXpOFKAFCAFJpsCBNmTbcaov6QAKTCgwCSE7EBdXd1DlPiMFnGmKpCyTg9AJsI0wBlYN9HSyboZh0IhgcVi+fjOO+/8k0Ag+PODDz7IJQUcJmTD7xj8LcPFYDNx3QMW7ubmZklPT480GAxKrVarpLu7Wwbx1C6XSymXy3VqtdookUiK4/F4QTgczrfb7UUOh6MYSodBvepgMKiCklmxWEzI1oiGMbG1onFzAeeXn/2bb7nml9LCz9NZqNMB9nitI35yNXYecSMFQT+RSCTj8XiitLT08KxZs96pqKh45rHHHmsTCoXnVLd8vMZK1yEFSAFSYDQUIMgeDRXpHKQAKXBeFJhkkB1jsou/QtnFz8uSoYuOoQIIXhBzDeAJoBgOh7m63QjZCJ3gMg7vA2DDcWazubW+vv5drVb7xPPPP39UKBQmhnL/5sN0uqGlEm1JDx48aHC73SaPxwMu33kdHR3m7u7usra2tiIoleV0OvV+vx8s1uD2DfW4IbM3xFBDpm/OQs3EiXN9PlNW73TW63QWbDYOm+3/YG7kqc0HrinffXws47JZwMfnANeYNR7egxjsVBx5XKfT+SwWy19uvfXWDfn5+buXL1/uGWrTZAyXJp2aFCAFSIFxV4Age9wlpwuSAqTAaClAkD1aStJ5SIHRUYAFMIzPZmEUngOIYXk6eA7v6fV6m9ls3lNRUfHQli1b9gqFwshwYqcZ0JYePnxY09vbq+3p6dFZrVZdS0uLyWq1Gt1utxGyfEejUcjubYrH4+DirYvFYjnhcBgeVbFYTB4KhWQQQ42W8XTQms7yjJZtTGaGSrLWeoRiPB4AFUEajud/Pths8PvEWs7HErKxP/w5Re8EzBgvk8mCarW6r7y8/JOysrLXv/nNb747bdo0Z2VlZYQge3S+Y3QWUoAUmBwKEGRPjnmiXpICpEAaBQiyaVmQAhNLgXRgje7EGMOLWbPhfYA0eF8ul/s0Gs3R+vr6H/32t7/dVVhY6GchG56DyzdYlp1Op7SjowNKZ8lOnDghh1rUMplMm5ubaxIKhfnRaDQ/HA7nuVyuUo/HU+zz+QrdbrfK5/OpwuGwGly+4/E45/YN1wfgR8s6qyZrKeYDM8Yg45jYzQU+ZONr1pWeTR6GGw0syLIZxdn3+bM9HnHY7PVh3ADUuLGQ2iyARHURqH2uVqs7TCbTF0uXLv3bhRdeuPsb3/hGO9Y+B++EibVaqTekAClACoydAgTZY6ctnZkUIAXGWAGC7DEWmE5PCoxAAbTkInjCoVj6Ca21CNZsrDZ8JpVKgwqF4sTFF1/841/96lcfl5eXu5jEZnAqMSQm6+3tzevr68u3Wq0F3d3dRcePH7e0tbWV2Gw2iKXW+3w+fSAQUIfDYYlYLAYoh0zfYnT5FolEonTxzmdKRpYumzbKwk/4heNk47QBSgGG0erLtz7zgZoP9HxoR88AeJ8dy1gCN4wB3cPhOdxhDmFMarXal5ub21tbW7u7tLT0/ZKSkh0FBQUdFovFt2TJktgIlhA1JQVIAVIgYxQgyM6YqaSBkALZpwBBdvbNOY14YivAJvpie8p3I+cnCJNKpSG5XH5y6dKlP3nwwQd31NTU2BGyt23bJtNqtcWPPvro4lOnTi1IJBKmRCKhi8fj2ng8rg+Hw9pYLKZOJBKySCQCNakl0WhUiHHh2A/WnXuoDN9nUpmfgCwdhLNZ1dkNBv64WVDmw/RwZ5qfXA2OS3cdPpTjJshgSczYfuNGAUK9QqHw6vV6a25u7gmlUnlEIpEcqqysPF5dXX3y1ltv7SooKAiS5Xq4M0jtSAFSIBMVIMjOxFmlMZECWaIAQXaWTDQNMyMVYC22YMlWqVQnGhsbH+BDdlNTk1qr1c7+2c9+dueRI0e+Ho1GIaZazLqdo0WZBdV0LtcZKSQzKDbWm7V4I3jzLd9se4RubMu6hEPtcolEEpZKpX6JROLSarUdJSUlR+bOnbunurr6wLJly46WlJRAcjOyXGf6IqPxkQKkwLAUIMgelkzUiBQgBSaiAgTZE3FWqE+kwMgUAJhTKBR+vV5/bMGCBf/x9NNPf2owGDx4lk2bNmllMtn8X/ziF/9y7Nixm4RCIWT7HrixVmk2MdlYuk+PbIRj35q1prNwjG7raK3GTO/QI3gOFmrIBg9x6fDIuoJDG9jISNW89pvN5s6ZM2e2WCyWHXl5eXvC4fARnU7nLSwsDC1fvhzgmiuZNvajpSuQAqQAKTDxFSDInvhzRD0kBUiBQRQgyKalQQpMLgXSATGU+dJqtQ6z2bx/+vTpP33yySf3mM3mII6sqalJ5/P5Gh9//PGVR44cuQ6AkIXHdO7b6EKdLaCN7uGs9Z7VGuPkWZd5/jGgKUI2PObk5HhzcnJ6jUbjCZlMdkir1R4pLCxsra2t7a6trbVdffXV7kceeSS2evVqSmg2ub6G1FtSgBQYBwUIssdBZLoEKUAKjI0CBNljoyudlRQYCwUGKzEViUQERqOxo7q6+mOTybT25ZdfbgEjKlhGoR9r167NlUgkX3vhhRe+efjw4csBsuHOd42GtphoDZ5nC2DDWNF6zbdcszqg+zirEcwJWKpTmc+TUIJLIpF4BQKB02g0tpeWlh6ZP3/+/pqamgPz5s07WVVVZUudk/v9SJbrsfim0DlJAVIgExQgyM6EWaQxkAJZqgBBdpZOPA170imQDrDRFRk+Kysr+2LJkiV/F4vFzz399NNQ9gl+nwBkJ7/73e8WSKXSb7/55pvXtba2zkFLNpYLQzH4ycbGo270RJkItGCDBugGjhnBAbzBFRyBG2PZ8XU0GoVjkmKxODllypS2adOm7V+0aNFHer1+t1qtbnW73f0zZ86Mv//++wmyWk+UGad+kAKkwERXgCB7os8Q9Y8UIAUGVQAhe9asWas9Hs+dVqu1EOI12R/b+EPyfP3gRhAQiURRrVYbqKure+ipp57aWl1d3c0f2Jo1a2a7XK6bN2zYsMLlclUATLA3tEQNlsGZlgopMJEV4H8HmQzYsbKysnfuuuuu9RKJ5J3777+/n4FswTXXXDMlFos92NraellPT89UtjwWlgKDcWM2cYw/Pl/f+fMxB6glaIA3ti43vMfW9E59FlcqleHc3Nxug8FwQqVSHVIoFIdMJtOJSy+9tLOwsNBWXV3traqqCp+PMdE1SQFSgBSYzAoQZE/m2aO+kwJZrkAKsqWzZs1aNUkg219XV/cwQXaWL9wsHn6a0lkJjUbjKCoqeuXXv/71M9FotO3KK6/0w3cbXJHfe+89xXPPPVfT0tLyS5vNNsftdpvY0lwsZOPmGm6sZZPMrLs4P/kbADiW4BKJRHGpVBqRSqVuuVxuU6vV3SUlJYerq6u/WLZs2f6cnJxTjY2NDoFAECVX8GxaQTRWUoAUGG0FCLJHW1E6HylACoybAgTZ4yY1XYgUGHUFUuAXnTFjxgGz2fzCa6+99qxAIDgtS/Xu3bvNmzdvXrh169bVTqezKhQKycH1GeOKES5ZLw820/aod3qCnpAtzYVdxHhr0Bni3mUyWVKtVodycnJs06dP/7y+vn5nfX39jlgs1trS0gLeA4lVq1axvwsTBNoTdMKpW6QAKTDhFSDInvBTRB0kBUiBwRQgyKa1QQpMDgXSJSGDEAqFQmGfN2/ehrq6utceffTRj/lloP7f//t/C06ePHnj22+//c1AIFAIuc3Qks1mEGdrbvNrQU8OhUavl+zGg1gsTsjl8qDBYLAajcajRqMRksq1mEymtqqqqq4rrrjCmp+f77dYLBGhUJhI/U3lOkOAPXpzQmciBUiB7FOAIDv75pxGTApkjAIE2RkzlTSQDFZgkCzfSY1G01tUVLR3/vz5z65YsWJXY2NjH8Ld6tWrRXfddZf8hz/84U3d3d3f2r9//5xoNKplXcX5Fmu0ZqfOwSmaLRnGMQ4dxiwSiRISiSQsl8vdSqXSqtFoOk0m09Fp06YdvOiii1oaGhpadTqdx2KxhAGkk8kkV3ccIDuDlyENjRQgBUiBcVWAIHtc5aaLkQKkwGgqQJA9mmrSuUiB0VeAhVwe8CbKyso+vuuuuzYqFIo37rvvvi7m6snm5maJXq8vuOOOO+7p7Oz8jsPhyBEIBBKA7MFcxLMFqNPNEmZqh89Sycz6a2pq9s6YMeOjRYsWfWKxWPbPnDnTKxQKwR0fNh/g9x+XwZ0s1qO/7umMpAApQAoQZNMaIAVIgUmrQCZCtsfjuXn9+vUr3G53hUwmG7DGAViA5Q5jUbMJKNAtGECCzSDNLlzUBz7HTMusC3EKLAYOYT/DY+AccEN3YzyGf550bdi+YHv2ODbjPZNVe+B6bP/Y7PGsdZa9BmvF5fdvsM/wvINl+cb32euz5zrTedNpBe2xjBSs5XCYS1IdVygU/qlTp35gsVj+cfHFF/8jJyen97bbbgumxsfVxv63f/s3g8/nu+mTTz65qb29vTGZTMogE9pwtBmvP2jpdBzs2jjn/HUA7dm61ZgRHPXENQlt2LXNZgqHc6tUKr9er7cVFRW1arXaFpVKdVChUBwrKyvrWbhwYf8///M/uyHenQVqTC43XnrRdUgBUoAUyCYFCLKzabZprKRAhimQqZD9/PPPc5Atl8s54ENXUPbHeDZCNgsgfGhm43NFIhEHaimNuOepz7/yPy+1cSEEgEcLKRyPMIQww2ZsToHPkP8/2TnixwnzY4ihj2zJpXQgzodkPnCy8I/HsxsHMCY2QRhfQzyefR+PwT8drM7YHtvgNVkYxzFB0i2xWOxVKBRder3+8Lx58/4+b968T+65557DvM2DxJYtW/Q7duyobm5u/n57e/sim802BcrZseOdCH/KRgLZrH7shgS7rliXb74rPLvxk1qrEGsdUiqVHplMZlUqle1Go/F4XV3dodra2sONjY3H1Wp1f2VlJcRac98BupECpAApQAqMnwJD/kgYv67QlUgBUoAUGJkCmQjZUCcbLNlQJ1uhUJxmVYUf2gAt8CObBe6RqTY5W6MVHyyjCHcIwPBarVZDBuWk3+8HS2kUMlCnrNsYZwr/7zD2FIqpDwgRj8eFsVhMyADpAGSzoAzwDa9TkCNKJBIQ0DowRywEwvnhDm2g/WDQzIItPE8dx/WFd22uv3zLNtZFxr6ws8ta9FkrNf+aLOjh8XisWCzmxpgOznFOcF1if1Mu3UmwXEulUtASdINa2EenT5/+7r333rtVLpd/sXjxYiebaAv2Qh555BFBSUlJ7cGDB6/cvHnzd71erwXeZ0F+Mq5g0Ahd3c/kMYHrC7XFceN6SCQgN1kS1nSkoKCgt7q6+si8efM+mDZt2qeXX375gcLCQifPJRy/LwTak3HhUJ9JAVJg0ipAkD1pp446TgqQApkI2V6vd8X69etvBsgGF1sWcFLQNmDxzJYVgICIcIIwByANt1QpqKTJZDoJpYlUKtVRkUjkjcfjiZRFGiBtAKJ5IArvy8RisVIgEMg4ik5ZvlOPSbxu6jhxIpGQJ5NJZSKRkMTjcQ7IU21F8BrPL5FIkrFYTBqJRBTxeByOAdrkoJyBWe4FxsgmEglxLBaTJJNJaD/QZ9bN+MvmX14mGo3CuWWJRELKWth5VlZuowGuHw6H5dA+mUyKB07CjBf7AteOx+PiUCgE54b+iFldmPAFiOmFNcmdDnQGyJPJZGBl9RqNRpvBYGgDF2aBQLAfEnDdcsstpwoLC711dXVf7pikYoObmpokarXa8t///d/XHDt2bHlXV9eMSCSixevyLceTaf2DNrBOsfwY+71GN3CMq4Y22J6B7KRUKg3n5ub2FhcXH9fr9ftUKlWLXC5vra2t7Z06dar9lltu8cCSYDUlK/ZkWiXUV1KAFMgkBQiyM2k2aSykQJYpkImQ7Xa7V7z44os3g7s4uMiyFlC2NvBkBo6zXaZ8F2u0oCYSibhWq7WWlJRsv/LKK/9aU1Nzori42CuRSKDOrzAajSJkDwAw1A0GK2sgEBAB1MbjcUUkEpGipTxdHwEkY7GYOBKJyAKBgAKAOBqNcucEMIrFYmDdTgIswQ3OH4lEJB6PRw71nROJxP+Zz1MXAAs6PE15JwhDoRCArQSgmQfZA/+v4RrYv1AopIzFYopkMgmQzbXBdZICNLBEc/WOhUKhKBAIKKH/KchOOxWp7xXoIg4EAgDlUoFAAJsLp9WnRvCHczPWWQ6y5XJ5QK/Xu0wmU29paWn74sWLjxUVFbVrtVp3Q0MDC9ccQ+/YsUPV3NxcuHPnzsu/+OKLf+rp6bkkHA6rQGO+t8DZrp/zeRxaqAGo+VZ59jXoyFi8kwqFAjYrnHK53CoWiztyc3OPTZs27dD8+fMPzZ07t33+/PlWAGt+rPWX+yaULfx8zjldmxQgBbJbAYLs7J5/Gj0pMKkVyDTIfuihhy70+XwrNm3aNJD4LB1Ys27Ek3oCh9l5NvlTylrKQW0oFMLEWuGFCxfumDp16qbf//73G1MJnrKiHBEkBAOedzqdX5r1UzeDwZB0OsFz+MsaTRzJCoUA8VKxWAwgfxrwI7inLNHcceFwWCSRSCSBQEAiEolEoVDoNJdjyBnA3iKRCLjdQx3ruE6nC5tMpoBGo3HDqbAdm9Ua3nvkkUeEl156qaizs9Ny7NixBVu3bv1OX1/fDJ/Pp0NPDn4s/jCXzYRphu748F1OeV2clsAQk8MxIRGwduMymSyam5vbM2XKlJYFCxbsmjlz5sfV1dWH6+vruyfM4KgjpAApQAqQAmkVIMimhUEKkAKTVoFJCNmBurq6h5966qlXqqurv/JDGSDb7/ff/NJLLy0Hd3GwZKOLOFg62RjYbANtWKQYgw2WPtAG4CQajcL7gcsvv/yvM2bM2Pzoo4/+bYQLmh+ryv5f/Ep5IwYS4TIDx6IlkRdjPKKupHPtHSoDdKrGMZZj+sr1mpubhQ0NDQP9PHjwoEgulw+MsbKykjumtbWVe4TXbW1t3OcWi0XQ3NwskkqlwoKCAkFfH1fGetAbtOnv7wc382Rubm6ipKQETPpwZ+Pi8drwnrC5uVmxZ8+eC/7+979ffuTIkX+yWq1VkUhED84BbJK1yeK5caZ+4ngwyR5atUFQ8KyA9aRQKBK5ubld+fn5R0tKSvYJhcIvVCrVidLS0q6qqirXwoULfVVVVQObFiNaYNSYFCAFSAFSYNwUIMgeN6npQqQAKTDaCkwyyI5ptVr/mSB79erV9R6P55aXX375JofDUQ6AjdY8TJ7FZhkebT0n4/kAtBOJRGjhwoXvVlZWvvzAAw80WSwWiEsFsIQ7Vws4NTb+/7x0yaCwDVp/T2vDt8SiZmncdUckJx+wEdYHO+9gQM6/6HDbscedSxzvEJsMqK1w79692i1bthQdPXp0Wn9//+K+vr6Fdrt9djAYBMs8WMMHLcU2ImHHsfGZAJvdFMMs4imvjARYrJVKpUOhUPSpVKqOnJyco6WlpYcvvvjilvLy8lOzZ892FBUVBcZxKHQpUoAUIAVIgXNUgCD7HAWkw0kBUuD8KZBpkP2zn/0MLNnfePnll2+02WwV8XhcpFQqB2I4eWWmzp/w43xljMlFyx9YtMGCjfHqIpEoVl5e3mY2m7d861vf+oNKpbKHw+Gw0+lMNjQ0cL0Fa+727dvT9ryxsVGAnzU2NnJQ3dTUNOgoly9fzn0GbZYvX861h6zYq1at+gq0gzs0fL5q1Sp4+IrlO91FWJDnWchP2wDggzFzHG4snCmjNP9cA78HBovlZQH6DPA+2EYGWK3FBw4cEO/bt09RUVExbd++fYuOHz9+xYEDB+YGAgEj61bNZtVmS5uN89I74+VGUsKLF5MNyfIS0Wg0JhKJAi9GPZcAACAASURBVCqVyl1TU/PFzJkzP7vmmms+zM3NbTWbzf2lpaXBoTSfSHpQX0gBUoAUIAX+TwGCbFoNpAApMGkVyDTIfu6556Z6PJ7/396dxcZ15XceV+0bi/sicd+plRQlW4sly1K67ajbg/G8KMBgMEhP8jLzNkiCvAzQ8TzMQ4AgSSMJEAQzScNBgCTq7iyW40kr3Wq33fImmTIlShT3nSJL3KpYRVYVq2rwL9fRHFeTEkmR1L3klwBBiqy6de7n3LL5u+ec/7l49erVK6Ojo+2zs7Ol0jlqOyhVaCqd1jLVpU3beRtouApZsg5bFRVTRc/kMJmiXktFRUX3jx49+tH58+c/am1tHbXb7Ys5OTnpV5J1yVKITD7VS8sUXSmKJh9ut1sCz4rP51tJ75H0VbXsXwqpy8vL6cfLMXJzc1ccDkfc5/MlZmdn089Rxy4sLHxyhvL4hYUFS25urgSrRFlZmYy0y3TpdW2rZLFYvqqkto6PzYay1UbO1/Fyqz4k+1i9vb0uj8eTMzY2VvbBBx803r17t62jo+Olubm5xpWVlbLl5eVc6R45mNxIkdkJqhK36gJVBDCr0vtmm7glz8vey1oddLX3pr71nsfjWc7NzZ09cODAg9LS0s7c3NyOVCrVn5+fP3n58uV5n8+3FAgE4leuXEkXrNuSxnIQBBBAAIEdFSBk7yg3L4YAAlspsNtC9t/8zd8UBIPB2nfffffU9PT0scXFRVmfWh6JREojkUi+bAclgW2v7ZGtRrLlvPWQrUY71Qi/z+dbKCoqmpDtoqxWayAWiy2pbb5knbAegtVa90xIl3XHMavVGrXZbGoLJLUfcfqS1R9vt9vTI8USyqWGmHyV0V8JRDLCrj7UnteZf8t2XPKYuM1mi1qt1oQ8Xp2PfFV7XqufSxEy2QbMarXKvt8S6JP6tmXZ76VMjTOL0+m0eDyeqOwXnrl58Ev/r5e9q+X5UqxMXsfpdKZcLpfcMIhlXudJuFMV0KUt+mt6PB65aZGQ0Cg/t9vt1nA4bA+FQo5AIOAKhULuQCDgnZ2dzV9YWNi/tLRUnkgkamOxWOPk5GRtJBLJS6VSUlTtyV7jasRXH73Wl0gY/eZS9rTwjFdStt+SInBut3vc6/UOu93u3vr6+p7W1tbeb3/72wNFRUWzlZWVcgfnifGz1uNv5X9LORYCCCCAwNYKELK31pOjIYDADgqYJWRLgJKQlJOT89Q12UIn5zQ1NeX98ssvq6ampg7fuHHj9P3799tGRkaawuFwfiKR8FgslvS6VTWimr338g52wY68VPY+2aoAmtvtThdDi0aj+6TStThkCqGlQ5uEVm2br/RjVWBTRajUCUjIdjqd8ilD2+rH6eJcWSOW6WJo8rNM8I1KOLXZbOniXpk14unn64WtEomEhNmkzWaT7a2WHQ6HBPR0yFZBW4Vsea7ajku2IbPb7TG73S7PiattueQx6nnyvQpnmWAu4TzkdDrDTqdTbhykb8xo22ylg5z8W00xl5FiebzL5QpJG1dbC65+pr5K+6VdqVRqIRPAZT9tTyQS8UUikVy5MRQKhYqnp6f3j42NVQUCgcJYLOaV6ubipPpID9nSf6rAnwraqiq3tHknbjBlXxvruchVuNb2v5abIwm73R5PpVJhn88XaGpq6j906NCn7e3tn7/11lt3IpHIQl1dXfoGxVbOJFhPe3kMAggggMD2ChCyt9eXoyOAwDYKqJB97Nix3wuFQt8JBAL7vxro/WpkTP/DV18/udOhVMKCBDIpfHb06NHv/vEf//Gq1cUVlexhfO3aNRkJ9H744Ye5sVisUgo/z8/Pt09MTBx79OhRy8zMTOHKyoqE7fR56utZ9b21ZeRTfpcVyL5WVEoPOarA2k6Emc1eGqpf9f2F9SC8Vv/q+2xr1ulvM8FZ7Se9ZtPSc8gzs8jVc9So8CrHXO04EnDV66w2Iz3dHG1ENF3ALbNOWh/lXLWNyiEzxTw9Wr5WQS591DXzmEQqlUo/J2OSvnbW+si8x2SAXkJ5+imSg+X+glzDMrgt24slEgmnXKsyEyNT1OzJ+a22rjn7Z+pGydPaslYb9feGeq+ox6r/Rqj3i3yVGx3ynlHTuzPv3a/drNFvAmQfS94/cqPA7XZHi4qKHjc3N3fn5+d/4ff7v0wmkz3FxcWP6+vr5y9cuCA33NIzIDb7PuB5CCCAAALGFSBkG7dvaBkCCDxDYLMj2auFra3G1kPfRkO2FtbS/43+xS9+kRMKhYo+/fTT2q6urobx8fGmSCRSv7S0VLO0tFQ5NzdXKEFG3WDQz0Vvhz4irAfVrJHaraYw/PE2OgV5o4/PBtjo89eYgrwu180E09Wun9VebLVjr9VWfQaB+j479K7rhDbwoOxrP9t9tYCfvlOg3aB72nlnZgI8mSHgcrmWvF6vrKmecLvdgzk5OX3Nzc0Pmpqa+s6dOzdy8eLFwL59+2SmBMF6A/3IQxFAAAEzChCyzdhrtBkBBNIC2SFbRrK/mlH67JFs9cf0dlGqICF/2GemvUpRrfCxY8fW3Cd7lTCmV3xOjy6Ojo56Zmdni7q7uw/euHHjpfv377/U19d3MBaLFSWTyZxEIuGSda5io9Ywq9E8NR1ZrWGWNuoFpTLT2p+M2m2XjdGOu9HQ+7zBVbuJ8ksUzwquT3vudl/T6w3fa7VRG2V/cqiN2m/k2lGzMfSZHdkhWp8BIr+T94BMZdeLDcq/1Yd6D6n3tawQsFgsUdlGLjc391FFRUX/+fPnbx08ePDzc+fOdT1+/Hjy0qVLTw7AtPCN9CCPRQABBMwrQMg2b9/RcgT2vMBmR7J3Ck4fOc5Urt5QyNbbqYogpVIpa1dXl/3+/fueDz/80C9rXr1eb+PMzMzJR48enejr6zuysLBQGI/HPTLtVR+1l+CQvU45ezqtGp0z8nTxneq/rXqd9QZn9XrrCfFrhdP1PHe95/W0APys19nO8Lze9qsRabUWXQ/OKiSr5RH6+0BfG6/OQwV1fb96WS9fWFj4qLy8vLempuaW3++/Y7FYHpaWlj4qLi4Ovf7665EjR448qYRHpfD19hyPQwABBMwvQMg2fx9yBgjsWQEjh2z9j/bNjmQ/rWPViFhfX59TQvU//dM/Vff09DQODw8fXFpaal5eXpbtwKoWFxfz4vG4S63N1qfCZo+2qzWp8rpGCEm75cLeaMh+1nk/K+Cu9fyt7tO1pls/q/079fvskK3WUq+2bEJd8+oxeriWn2Vmf0gFdqkSPuv3+2VK+JDX631YWFjYc+bMGZkaPnb+/PnHBw4cWNJumLAF1051OK+DAAIIGEiAkG2gzqApCCCwMQEZ1ZXiSm1tbb8XDAa/I1WM11P4bGOvsrlH62ueJWTL1lBerzci08X/5E/+5IctLS3jmzvyV89abdqp7EdstVrL3nvvvWOdnZ0vdXR0nJqcnKyLRCJlFovFl0gkHCsrK1a1B7EEb/mUf6sp5E6nMz1VVp8i+zztNMNzNxJas6ceP+v81nvs9Qbg9R5vO4L2el57tfPQn6f/fj3He5bven6fvU5cn7aubjTJV30Pbm2ruPRWbRaLRbZqCxcUFAQqKip6Wlpavrxw4cJnDQ0N3a+88spEZtr417bfkrYxer2eHuIxCCCAwO4TIGTvvj7ljBDYMwKZkO1ob2//vfn5+V9f75rsnQRSWydJyPZ4PJG2trbvfu9733vukL3aOUjw7urqcly7ds0TCoVkX+2qYDDYPjk5eaq7u/t0IBA4EA6HcyR0yJZXEizUvs7SThW45fdMF1/7KtlIOFxveFav9qziXDt57W7Va63ltVGbjbZHv9Gl2qCtpX5yOL19KnSrm04SngsLC6crKioeNjc33yksLLxlt9t7o9Ho+JkzZxaPHz++LFPCCdMb7R0ejwACCOxuAUL27u5fzg6BXS2gRrIzITu9hddqhc9eFII+LVVCts/nW2xtbX3793//93/U1tY2tp3tunHjhr26utr305/+tPzu3bt1nZ2dh8Lh8LHFxcWD8/Pz9cvLy7kyjTwzyp4O1bIWVe0zTcjezt755WPrIXA9r7zeoL8VQVZfYrAVbduKNm20HdnTv3VvFbwzSzxSso13Xl7e45ycnDGfzzfocrl6ysrKetvb2/uPHz8+eurUqZmysrIIwXo9vcBjEEAAgb0pQMjem/3OWSOwKwQyU6ZtJ06c+G4wGPwvjx49Kn9WyN5oYNgslP5HfKZqdzwnJyfU2tr6P3ciZEu7VbG0W7duOXw+X+6Pf/zj419++eXpO3funA0EAvXhcHh/IpHwy5R7y1cf6WnjOxWCNmu7G5+3kZC93oCtnJ6nP9ea6r1WHzyrbc/Tlo32u7pRJDeS1FRwteZat8nsfZ6w2+1LNpstZLfbZysrK3sOHjx45/XXX7/d3Nz8sKmpaaq0tHRxo23g8QgggAACe1OAkL03+52zRmBXCKiQfe7cuf8xNzf36yMjIzVGCtn6CJndbo/n5eWl12T/0R/90bZMF1+rUzNO1j/4gz9wR6PR/Hg8fmBycvKVgYGBCw8ePHh1fn4+b2VlxSXbeamPZ4WlXXEBbfIknjco7hbbZ62/1nnXMttOC7V+XhX0U9XF5UaSvlWXvDfdbvdiU1PTvdra2i9qa2tvWSyWbo/HM3ngwIHg6dOno0eOHEns27cvyej1Jt80PA0BBBDYYwKE7D3W4ZwuArtJIBMeLW+++eZ/n5qa+s/d3d1HZVQ2e59s/Zx3ciRb/yPf6XRG8/Pz51taWr77p3/6p//Y2Ng4vdN9oW5KBAIB91/91V9V3b17t2V4eLg9GAyemJ+fPzwzM1OrTJkuvr29s95w+byBfivO4kWtqX7etq82RVzd+LLZbMs+n2+huLh4xOPxDFit1p7y8vKHjY2NQ5cvXx5zuVyz586dkyrhEq71m09UC3/ejuH5CCCAwB4QIGTvgU7mFBHYrQKqwvZv/MZv/KeBgYH/ePv27W+kUimXPiX0RYcUNU3V6/UGKyoqhsrLy//X9773vf/b1NQU3Ol+ya5IfuvWLa/D4Sj7/ve/f6Gzs1NGtV+JRqMl8Xjcv7Ky4lQ3K1Zrp3JVhaJWK9iVHXJ2+nyN+HrrDdd62592DW9kmvlmPNbT3u18j+nXmWq/ulGWfQ3K7/W26Nef/EqqhNvtdqkSHnS73VMlJSUDbW1tX8rn5cuXO/1+/3RVVdWT7bdWq+C/GUOegwACCCCw9wQI2XuvzzljBHaFgP4H8J//+Z+f/elPf/of/u3f/u2/xWIxnxREk0rZ2UFFAq9sTSUFvnZipFb+yJfXk6+FhYUjb7zxxk98Pt///rM/+7NPLRbL10bIXkSniOHt27ft165d88VisVqbzXbq+vXrb42MjJyYmpraLxXI1f7aaksjsVNrXOVnMsVcWcq5qtCtqqrLY/XpuioIbWcwexGWvObqAhtZ050pPJa+huRDX0st1526duSaVO9l+aq2olPPUcdR08LlMQ6HI5Gfnz9bU1Mz2NjY+HF5efnndrv9i2QyOVtQULD4O7/zO1EZtWY6OFcyAggggMBWCBCyt0KRYyCAwI4LqJAtW9H+y7/8S+kPf/jDs11dXf91eHi4bWFhoSzzh3U6AKqgJ43cyB/9z3NSarRN/tDPy8ubKS0t/fStt976P36//7Pf/d3fHTfSH/Ni+c///M850Wi07OrVq8cnJydfDofDZ6anp5tCoVBRLBZz6uFZAo8EGTk3Pfw8y0sP1usZIX3W8fj97hDQl3DINaIv91BLLvSbYquNbqsArt8AkiUafr9/obS0dNztdj/0eDwP/X7/w8OHDw+3traOX7hwYfrjjz+O/dqv/doLv+G1O3qSs0AAAQQQUAKEbK4FBBAwrYBaPyzZ+bd+67dqlpaW/t3HH3/8xsTERFs4HC6y2+1SNdumRmHVNlVqdHkbTlyt17RYrdakzWaLOhyOxf3799+trq6+/tu//dvv1NbWztfW1kaNFLJ1h+7ubv/777/fNDIy8urPf/7zV6ampg6Hw+GKlZWVnJWVFYcEHKfTmb5ZoU/HVeFIH01Uhab0n2WPVm5DH3BIkwio60cFaBWoV6sArt8gUzMm5AaPfKoiZplR7ZhUCbdYLCGv1/uopKRkqL29vau5ufn2iRMnuuvq6kYaGxtlX+ukSZhoJgIIIICACQUI2SbsNJqMAAL/X0CNaF+9etUxNzeXOzQ0dKG3t/f17u7u1+fm5gqXl5fd8kd7ZsTVkkgkLLFYLP03uxqFlfWamzXVwrIc40nIdjgcUujs0aFDhzpqamqunTt37uMrV66MZF4nZbQ/8rUbFvv+4i/+wtbf3++urKw81N3d/erw8PCb9+7dOxoIBIqWl5fTU/ElaMtXsVS+6mZG9pp4CT/qMSoUqbXqm3XneeYXUKFargl95oeaNaGvvdZvzug/l+/V6LXs8V5aWhqorq7ub21t7SgvL79ZWlraeefOneHy8vLoa6+9tnLx4kWmhJv/0uEMEEAAAcMLELIN30U0EAEEniagTRuXh1n/8A//sHxgYKBucHDw0NLSUmEymfTIBtA2my0lf4zH43GLfNVHWZ9HeK0RaavVuuxwOB6XlZX1NTQ0DPzmb/7mVGVl5bKEewnjRhzJVvtqi4esa//oo4/ybty4Ud7T09P0+PHjU1NTUycCgcCx+fn5okQi4dJuUqQJVTjKPP8Jqz5NXB+1fB53nmt+AXVdqPoJagmCCtT6Gcp1o0K5/FwFa5vNlszPz39cUFAw6vf7e9xu94O8vLy+lpaW4YMHD06cPXt2pqWlJWy0m1rm7z3OAAEEEEDgaQKEbK4PBBAwtYAeslVwTaVSjrGxMX8gEPDH43GX1WqVYJ2SDzlZKei1HR+xWMyiji3rQW02W7i5uXlW/YFvlmrFejvl+76+PmdHR8ehH//4x6e6urrOT01NHQkGg5XLy8sFqVTKngnn6ZFtPQDp1clllFtfb7sd/hzTPAL6uurs6eLqho0K1eq6yfw7ZbPZEna7fdHhcCzY7fbZ0tLSnrq6uq6LFy/eaWhoePjyyy9PlJSUSLBOv9/N8r4zT+/RUgQQQACBZwkQsp8lxO8RQMCUAmr689WrV1/If+euXLmSnj5uxBHrTXSo5e2337bV1NTkJJPJsoGBgddv3rz5+r17914NhUJ+CdpSZVxNBZdpu/IhU8rl5/qaWfmZPiK5ibbwFJMLZBfAUzdg5LRUpXD9WpLrSRv1TuTm5oZramruHz58+Nbx48d/4fF47k5MTIwePnxYZookrly5ktwl7zuT9zTNRwABBPauwAv543PvcnPmCCCAgHkFbty4YS8sLHS99957FQ8ePGgZGxtrD4VCZwOBwOGZmZnKRCJhlbNTBebk++xK0BKo9Gnl5tWg5ZsRWG3rtuzrQa8QbrVaU06nc8Xr9S4UFBQMl5SU9Njt9gc5OTk9FRUVAxcvXpwqLy+fO3fuXHgX3dTaDC3PQQABBBAwkAAh20CdQVMQQAABowro67WljZ988knuxMRExfvvv3++q6vrzPj4eHs4HC6PRqN5iUTCLSPWap9iCVFqv21VKG0n9ik3quVebddae6PrW3bJNSNLO2RE2uVyLXq93rmcnJwpn883JKPXp06dunvkyJEHZWVlk2fOnAnqltnX6F515rwRQAABBF68ACH7xfcBLUAAAQRMJaDvUf6zn/3MOT4+3jQ2NnbmJz/5yVsPHjw4LuFb1qarIC0jkzL9V+1Zzh7ZpuruLWvs00K2XCOyNZd8Op3OhN/vX2xoaOhpbm7+/PTp0zfLysq+KCgomAwEAqH79++n3n77bb2a/5a1kQMhgAACCCCwFQKE7K1Q5BgIIIDAHhWQKuTvv/9+zuDgYOnnn3/eODU1dXJubu7U+Pj48VAoVLK8vOxRWzQJEQF7j14o2tIBJSChW23l5nA4Yj6fL1RSUjKcl5f3MC8v775MC6+pqRk5ceLEVENDg0wJT6+5plL43r2GOHMEEEDALAKEbLP0FO1EAAEEDCwgYXtyctL97rvvNjx8+LD9448/PhcIBI6EQqG6aDRavLKy4lAj4PpUcRW6s7f50vfc3shpr7b900aez2O/LrCW53r2sM6+qaL6WH21Wq1xp9O55PF4Hns8nomcnJyR2tra+y0tLfe/8Y1vdHs8njFZa51VnV925EvSTwgggAACCBhZgJBt5N6hbQgggIAJBW7cuOHev39/9TvvvHPp7t27lzs6OqQKeX48HrdJwJL12TK6rfYrl1PURzVlPffy8nL6Z1KdXH1kBz69Srke+ljvvXUXjfSRKkym/OXfYqzW3KvlANKn8inVwNXz9PXW+pZc8r3f718oLy8fPXny5M+lSvi3v/3tz51O51hVVdXS1p0BR0IAAQQQQGDnBQjZO2/OKyKAAAK7WkBGtbu6urw/+MEPSgcHB+uCweDLjx49OvP48eO2qakpqUIue2ung5gKZhLc1FZO+vRyBaUqTqugp+/BrR6jRsXVFORdjbwDJ6dX/RZ3NbtA7OVT9aG+/7kK19I81Q/qcTICnZubO3/gwIGxgoKCux6Pp8tqtXbX1taOHjp0aOq1116bO3LkyJLFYknswOnxEggggAACCGybACF722g5MAIIILC3BWR6+LVr1zyJRKL23XffPdnb23tqenpatv2qiUQiRYuLi2673W6RUC0fahqxKpImP5NCWPqUcn1LsLW2AlurwNbe7o3Nnb2+hl6/eaHPFlA3PuSrjGKrmyQSym02m0wJD/t8vjmbzTbp9/uH6urquo8dO9bZ1tbW29raOtrS0hIhWG+uf3gWAggggIAxBQjZxuwXWoUAAgjsKoHe3l5XR0dH+dTU1MX33nvvWz09PWfGxsbKrFarw2q1WtTUcTWyrUZOJbSpfbfV1HF5rBpVFSQ1VVyFwNVGuXcV5jadTHZROukD2XJN+kRtwSbG+rRxvSnyu2g0Ko9NWSyWlGzFJftbl5eXD7300kt32tvbf97e3t7x6quv9uzbty8m91W+6j7WWG9Tl3JYBBBAAIEXJEDIfkHwvCwCCCCwlwRkCvlf//Vfe2ZnZ4vu3bvXGAgE2hYWFl4dHBw8Pjs7WyVTyNWItgRrCdQS+mQkW0KdCnpipkK2GslWIXsveW71ua5V9V3d/FhterhaY61PC5ef5efnzxUXF4/W1NQ8tFqtd1wuV3deXt7giRMnHp8+fTp48uTJiHRj5lP6WcI2HwgggAACCOwaAUL2rulKTgQBBBAwh8D09HTOu+++W/HFF1+0d3R0nAkEAsej0Wj94uJi0fLysldGqaX4mQQ/fY3vWhWt1VnrBbqYMr6xa2GtkK2HaxW41WPlBoh8yMi1y+UKSpVwt9v9yOv19u/fv7/37NmzD2Sv61dffXWsurp6XsJ0psK8+tsjPeK9sZbyaAQQQAABBIwvQMg2fh/RQgQQQGDXCnzwwQdNH3744ZlPPvnk30vonpmZqXS5XFJSXP7/lP5/lIxiS2iWULfalHBtS6j01HI1pXnXom3jielhW76XaeIyZVw+xVlufsjPZCp4NBpNyjZc+fn58QMHDvQ0NjZ2/Oqv/uqHxcXFdw4fPjzU1NQU3MamcmgEEEAAAQQMK0DINmzX0DAEEEBg9wv867/+q+/OnTsFXV1d5eFw+NTU1NQrIyMj52VaeTwe97pcridVx9XWUarolqpGLkp6cbS1CqLtfs2tP0N92zTxzoxmJ3JycqJFRUV9+/fvf3DgwIHOVCp13+VyDV26dCmQn58fzM3NXbp06dJXQ918IIAAAgggsMcECNl7rMM5XQQQQMBoApkpxLZ33nmn/tNPPz1669atM8FgsG1xcbEpGAxWyHrtZDJplXbLWm0VsmXttlqvrUawJQhS+GxrelgVnxNPu92ecLlcEZfLNe12uyfcbvfwgQMH7jc1NXW/9tprfZWVleNnz55doEr41thzFAQQQAABcwsQss3df7QeAQQQ2FUCUoU8Nzc3//vf//4bN2/e/OZHH310KZVK5cfjcU88Hk8XR1OfesjOTGH+2pZfuwpmm09mjTXssl5a9qyOu1yuxdLS0vGWlpbbp0+f/uTChQufeL3esePHj0uwZl31NvcPh0cAAQQQMJcAIdtc/UVrEUAAgV0tIFXIu7q67NevXy8aHh6unZubOzY4OPiNycnJk48ePWqQLaIkZHs8nidVxhm9fr5LQg/Y2vfpkeuKioqJkpKSzuLi4g6bzXYvLy9vrK6ubury5csLra2tsg2XhHD5oIjZ83UDz0YAAQQQ2EUChOxd1JmcCgIIILBbBGQKeWdnp3d+fr70L//yL08MDg6+ND8//3IgEKhfWloqXVlZ8emVr+W81X7a+l7OqlCaWs8tIVL9Xp9WbpZq5Pp2ZarNq1VVV1Pq1flmb3em1lqr34uJw+GIezyepby8vMc2m23U4XAMSpXw+vr67jNnzvS2tLSM5+bmLh49elTCtUzVf1KcjpC9W955nAcCCCCAwFYIELK3QpFjIIAAAghsmYCEN30KciqVcvzd3/1d9ezs7Okf/ehHlwcGBk5MT09XWywWt+wgJY9Xa7NllFtGttWHHrLld2qPbfkqU8zVz9YYzf3aOa21zdWWnXjmQHoRt0yYTRd2yw7TanszdQNB3TyQc5Fzk5+LhXzK92ofcmWQ+XcymUxKgbKY1+udLy0tnTh69Oi9gwcPfnL+/PnP6+rqBhobG8NqrXUmWLO39VZ3OsdDAAEEENhVAoTsXdWdnAwCCCCw+wQk2F29etU9MzPj7+7urpmZmWkPhUIXOjs7TwcCgcrl5WW3TB9XoVKFTj1oq5FbCZZqlFdtCab+bTQ5vbL3s/axVkFanUP2tmbyb/mUdeyqSrgEcb/fHywpKZmorq6+U1RU1OHxeO5ZLJbh8vLymYsXLy5evHhxad++fUnWXRvt6qA9CCCAAAJGQh95UQAADoxJREFUFiBkG7l3aBsCCCCAwNcEJiYmvP/wD/9QPjQ0dPCzzz47NT093R6JRA6HQqH90WjUk0gkLGoUV3+iCpkSqFWolhFdfTTYCNQqTOtT3vUtyfQRd33quD7KrT9XP9fM2vWk2+1e9Pv9Mx6PZ8Tn8/Xn5ub2HD16tLupqWngV37lV8YPHz5MlXAjXAy0AQEEEEDAtAKEbNN2HQ1HAAEE9q7A3//939taWlqqf/CDH5zu6up649atWy8tLCxUJhIJn0wv/2rr7K/+F6ePAquwnf1z/TGrjRrv1Jrt1fYA19eOq+nvqufVTQLZ2kxfX62vyU6lUslUKhW32WxRCdilpaWjLS0tD9ra2j45cuTInW9+85s9HR0dIfa13rvvJ84cAQQQQGBrBQjZW+vJ0RBAAAEEtlkgsy7Y+rOf/cxx9+5d/+Dg4P5YLHb64cOHFwYGBs5PT08fiMfjbjVqrY9eS9NU0NZHt7NDt3rcNp/KLx0++yaA3na93Xp71c9V4FZrr2XkOhaLpfLz8yOlpaVj1dXV98vKyj7z+Xz3UqlUf21t7Vxtbe1iSUnJ8sWLF58sZGdq+E73Oq+HAAIIILDbBAjZu61HOR8EEEBglwvoxbfk+76+PmdHR0fV9evXDz98+LB9fn6+PRgMHlxcXKwKh8NSHM2qgqcKp6oyub7uWWfbqZHr7K7Krhiufp89gp1dGV2f+m6z2VIejyfk9XqnvV7vqNfr7c/Pz++trq7uOXny5MDRo0cnpcjZyZMnV7IDdXbRuV1+KXF6CCCAAAIIbIsAIXtbWDkoAggggMBOC4yOjnoGBgaKP/roo7M3b958ra+v75WpqanyWCyWm0qlXGoKuUwHV9OrVRtVuM2uMr5TFcWzrfQK43rVcFXULbvSuIRlm80Ws9lsSzabbbGgoGC4pqbm/tmzZ281NzffOXTo0GB7e/tjRql3+qrk9RBAAAEE9qIAIXsv9jrnjAACCOxCgVQqZb169aq9v7/fF4lEqoPB4LGhoaE3Hj58+PLExERjIpGwWa1Wi4wCS2VxvaDY00aUd5pqrSnjKnirbbnU6LVU/7bb7Yny8vKh6urqe4cPH/40lUp12u32ofz8/EB9ff1SVVVVlDXXO92TvB4CCCCAwF4VIGTv1Z7nvBFAAIFdLPDll1/6+vr6im/cuHG4v7//RCAQODE3N3dwYWGhPBKJ5Kt9tSVwZ0/FflGj13p3ZO+BLb9Thc0yU9wTMnKdn5//yO/3j7jd7gGfz9ddXl7e8+abb/YXFhY++ta3viVVwmO7uJs5NQQQQAABBAwpQMg2ZLfQKAQQQACBzQqodcWqQNp7771X8+DBg7br169f6O/vb5+ZmWmyWCz+VCrlTiaTDhnVlg81sr1WVfLNtmcjz9O38NJH2jNTxpP79u1bcblcYZfLteBwOALNzc33Wltb77z55pu3/H7/wMsvvzwjj2Fa+EbUeSwCCCCAAAJbK0DI3lpPjoYAAgggYCABCdpXr151zM3NeXp7ewuTyeSxubm5M93d3edGR0ebZ2dny5LJZPr/haqSd3bYXquq93acpnptNbqupoTLV6fTGS0uLp6pr6+/3djYeKusrOy21WodjEajgVdeeSVcV1e3cuTIEQniKZlCTtDejh7imAgggAACCDxbgJD9bCMegQACCCBgcoHMqLb9b//2b0v6+/srb9682bCwsHAwGo22LC0tNQSDwfJwOFwYDofTBdKkGrl86lPH9Wnl2aPd+jpqoVprynn2z/Xn6cXX5HuHwxH3er2LeXl5AY/HM+xyuQacTudAdXV179GjR4cuXbo0UVFREaysrFyWQJ05R/X/9RQh2+QXLc1HAAEEEDCtACHbtF1HwxFAAAEE1iugb00l33d1dTmmpqaqurq6Dn7++eftvb29R6ampurn5+eLU6lUjsVicScSCVcqlbLv27fPJuFYCo7pW2xlb6OlVyZ/1rpuPVBnRq9l5FnWWUdtNtvyvn37Ii6XazYvL2+yoaGh99ChQ50vvfTS/RMnTvQ3NDTIWuvoes+dxyGAAAIIIIDAzgoQsnfWm1dDAAEEEDCAgATt27dv22/fvu344IMPXPX19futVmv90tLSseHh4SPj4+ONIyMjFaFQqDAWi3llcFptpaVGqrO305J/r7YVmArj8jsJ6rIGXD7l3/I7j8eT8nq9cZfLNVdcXDxWWVk5UFVV9TAvL6/L7Xb3DgwMjNfW1kZqampi3/nOd+JMBTfABUQTEEAAAQQQeIoAIZvLAwEEEEBgzwvIHtudnZ15Y2NjJR0dHSWjo6Ol8/Pz+1Op1IFkMllqsViKI5FIcSwWy4tGo/6VlRVHPB53RaNRVzwed8r2YNnTydVottVqTTkcjpisqXY4HMsOhyPqdDrDTqdzweVyPXY4HPIZSKVS0263+1FZWdmj1tbWmdra2setra1zLS0tYYvFImut+UAAAQQQQAABEwgQsk3QSTQRAQQQQGDnBGSUu6+vz5mTk5Pb29tbMjQ0tH90dLS8r6+v/PHjx6XBYLBweXnZu7S05AuHwzlLS0s58Xj8a1XKVRG1TKsTbrc74vF4FnNycoI+n28xPz9/rrS09HFVVdV4RUXFRHNz82RhYaFMD1+oqqpa2rmz5ZUQQAABBBBAYKsFCNlbLcrxEEAAAQRMK5BKpayZ6tzy/0eZUm6dnp62fvbZZ7aRkRFZm+3Yv3+/Jycnx+Pz+XwOhyMnmUz6MqPZ8twnI86Wrz6SqVQq4XQ6I1arNZxMJkOBQGAxGAwuLywsxKurqxOFhYUJl8uVLCgoSF65ciVdFVy1g+Jlpr2UaDgCCCCAwB4WIGTv4c7n1BFAAAEEvi6QqdAt1cFlG6xf+sj83jY0NGT3+Xz2QCDgnJ+ftzscDuvy8rIlEonsc7lc6efabDZLIpFIyZpri8WyUlhYGHe73fHKykpZV514WoDWC7XRRw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QjZBu4cmoYAAggggAACCCCAAAIIIGAuAUK2ufqL1iKAAAIIIIAAAggggAACCBhYgJBt4M6haQgggAACCCCAAAIIIIAAAuYSIGSbq79oLQIIIIAAAggggAACCCCAgIEFCNkG7hyahgACCCCAAAIIIIAAAgggYC4BQra5+ovWIoAAAggggAACCCCAAAIIGFiAkG3gzqFpCCCAAAIIIIAAAggggAAC5hIgZJurv2gtAggggAACCCCAAAIIIICAgQUI2QbuHJqGAAIIIIAAAggggAACCCBgLgFCtrn6i9YigAACCCCAAAIIIIAAAggYWICQbeDOoWkIIIAAAggggAACCCCAAALmEiBkm6u/aC0CCCCAAAIIIIAAAggggICBBf4fiZ/tg8Zh+yk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C157ADD-76F4-E23A-7291-F7B97304BDA4}"/>
              </a:ext>
            </a:extLst>
          </p:cNvPr>
          <p:cNvSpPr txBox="1"/>
          <p:nvPr/>
        </p:nvSpPr>
        <p:spPr>
          <a:xfrm>
            <a:off x="5231554" y="1213583"/>
            <a:ext cx="172889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2400" b="1" u="sng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rPr>
              <a:t>선택 이유</a:t>
            </a:r>
          </a:p>
        </p:txBody>
      </p: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9B1592C9-A827-30EA-847C-853FE9A7B784}"/>
              </a:ext>
            </a:extLst>
          </p:cNvPr>
          <p:cNvGrpSpPr/>
          <p:nvPr/>
        </p:nvGrpSpPr>
        <p:grpSpPr>
          <a:xfrm>
            <a:off x="243483" y="1031305"/>
            <a:ext cx="2520000" cy="5672423"/>
            <a:chOff x="223334" y="1031305"/>
            <a:chExt cx="2520000" cy="5672423"/>
          </a:xfrm>
        </p:grpSpPr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DF174252-8FA2-599C-45FC-6A0F31C382BF}"/>
                </a:ext>
              </a:extLst>
            </p:cNvPr>
            <p:cNvSpPr/>
            <p:nvPr/>
          </p:nvSpPr>
          <p:spPr>
            <a:xfrm>
              <a:off x="223334" y="1031305"/>
              <a:ext cx="2520000" cy="5672423"/>
            </a:xfrm>
            <a:prstGeom prst="roundRect">
              <a:avLst>
                <a:gd name="adj" fmla="val 10480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 dirty="0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21" name="그룹 20">
              <a:extLst>
                <a:ext uri="{FF2B5EF4-FFF2-40B4-BE49-F238E27FC236}">
                  <a16:creationId xmlns:a16="http://schemas.microsoft.com/office/drawing/2014/main" id="{37214426-F16D-13F6-61AE-7047B8F7486A}"/>
                </a:ext>
              </a:extLst>
            </p:cNvPr>
            <p:cNvGrpSpPr/>
            <p:nvPr/>
          </p:nvGrpSpPr>
          <p:grpSpPr>
            <a:xfrm>
              <a:off x="402762" y="1213583"/>
              <a:ext cx="2167941" cy="3242051"/>
              <a:chOff x="410110" y="1213583"/>
              <a:chExt cx="2167941" cy="3242051"/>
            </a:xfrm>
          </p:grpSpPr>
          <p:grpSp>
            <p:nvGrpSpPr>
              <p:cNvPr id="71" name="그룹 70">
                <a:extLst>
                  <a:ext uri="{FF2B5EF4-FFF2-40B4-BE49-F238E27FC236}">
                    <a16:creationId xmlns:a16="http://schemas.microsoft.com/office/drawing/2014/main" id="{77753805-DD97-1CF3-AE91-08BB3BEAEA5F}"/>
                  </a:ext>
                </a:extLst>
              </p:cNvPr>
              <p:cNvGrpSpPr/>
              <p:nvPr/>
            </p:nvGrpSpPr>
            <p:grpSpPr>
              <a:xfrm>
                <a:off x="410110" y="2287693"/>
                <a:ext cx="2167941" cy="2167941"/>
                <a:chOff x="3598220" y="-779228"/>
                <a:chExt cx="2167941" cy="2167941"/>
              </a:xfrm>
            </p:grpSpPr>
            <p:sp>
              <p:nvSpPr>
                <p:cNvPr id="44" name="타원 43"/>
                <p:cNvSpPr/>
                <p:nvPr/>
              </p:nvSpPr>
              <p:spPr>
                <a:xfrm>
                  <a:off x="3598220" y="-779228"/>
                  <a:ext cx="2167941" cy="2167941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48" name="그림 47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3739424" y="-217129"/>
                  <a:ext cx="1885534" cy="1043744"/>
                </a:xfrm>
                <a:prstGeom prst="rect">
                  <a:avLst/>
                </a:prstGeom>
              </p:spPr>
            </p:pic>
          </p:grp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1A1DD03C-27E0-4F13-C208-34CFF4A2D51B}"/>
                  </a:ext>
                </a:extLst>
              </p:cNvPr>
              <p:cNvSpPr txBox="1"/>
              <p:nvPr/>
            </p:nvSpPr>
            <p:spPr>
              <a:xfrm>
                <a:off x="626236" y="1213583"/>
                <a:ext cx="1728893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2400" b="1" u="sng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인구 유입 중</a:t>
                </a:r>
              </a:p>
            </p:txBody>
          </p:sp>
        </p:grpSp>
      </p:grp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E24E155B-4056-CCAA-357B-94E61D3130B2}"/>
              </a:ext>
            </a:extLst>
          </p:cNvPr>
          <p:cNvGrpSpPr/>
          <p:nvPr/>
        </p:nvGrpSpPr>
        <p:grpSpPr>
          <a:xfrm>
            <a:off x="9428517" y="1031305"/>
            <a:ext cx="2520000" cy="5672423"/>
            <a:chOff x="9408368" y="1031305"/>
            <a:chExt cx="2520000" cy="5672423"/>
          </a:xfrm>
        </p:grpSpPr>
        <p:sp>
          <p:nvSpPr>
            <p:cNvPr id="11" name="사각형: 둥근 모서리 10">
              <a:extLst>
                <a:ext uri="{FF2B5EF4-FFF2-40B4-BE49-F238E27FC236}">
                  <a16:creationId xmlns:a16="http://schemas.microsoft.com/office/drawing/2014/main" id="{B1BEC00B-7816-4CE8-AAF1-2D29E6AC5273}"/>
                </a:ext>
              </a:extLst>
            </p:cNvPr>
            <p:cNvSpPr/>
            <p:nvPr/>
          </p:nvSpPr>
          <p:spPr>
            <a:xfrm>
              <a:off x="9408368" y="1031305"/>
              <a:ext cx="2520000" cy="5672423"/>
            </a:xfrm>
            <a:prstGeom prst="roundRect">
              <a:avLst>
                <a:gd name="adj" fmla="val 10480"/>
              </a:avLst>
            </a:prstGeom>
            <a:solidFill>
              <a:schemeClr val="bg1">
                <a:lumMod val="75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grpSp>
          <p:nvGrpSpPr>
            <p:cNvPr id="6" name="그룹 5">
              <a:extLst>
                <a:ext uri="{FF2B5EF4-FFF2-40B4-BE49-F238E27FC236}">
                  <a16:creationId xmlns:a16="http://schemas.microsoft.com/office/drawing/2014/main" id="{CD97756B-0FB2-EAE7-B9E4-216BAFBC08FE}"/>
                </a:ext>
              </a:extLst>
            </p:cNvPr>
            <p:cNvGrpSpPr/>
            <p:nvPr/>
          </p:nvGrpSpPr>
          <p:grpSpPr>
            <a:xfrm>
              <a:off x="9584398" y="1213583"/>
              <a:ext cx="2167941" cy="5307866"/>
              <a:chOff x="9544683" y="857438"/>
              <a:chExt cx="2167941" cy="5307866"/>
            </a:xfrm>
          </p:grpSpPr>
          <p:grpSp>
            <p:nvGrpSpPr>
              <p:cNvPr id="70" name="그룹 69">
                <a:extLst>
                  <a:ext uri="{FF2B5EF4-FFF2-40B4-BE49-F238E27FC236}">
                    <a16:creationId xmlns:a16="http://schemas.microsoft.com/office/drawing/2014/main" id="{F92AB505-1E87-5E33-9A17-9526D2B20D6C}"/>
                  </a:ext>
                </a:extLst>
              </p:cNvPr>
              <p:cNvGrpSpPr/>
              <p:nvPr/>
            </p:nvGrpSpPr>
            <p:grpSpPr>
              <a:xfrm>
                <a:off x="9544683" y="1574263"/>
                <a:ext cx="2167941" cy="2167941"/>
                <a:chOff x="6429236" y="1286587"/>
                <a:chExt cx="2167941" cy="2167941"/>
              </a:xfrm>
            </p:grpSpPr>
            <p:sp>
              <p:nvSpPr>
                <p:cNvPr id="3" name="타원 2">
                  <a:extLst>
                    <a:ext uri="{FF2B5EF4-FFF2-40B4-BE49-F238E27FC236}">
                      <a16:creationId xmlns:a16="http://schemas.microsoft.com/office/drawing/2014/main" id="{3430AED5-320C-79C1-EF26-495CCD4B5994}"/>
                    </a:ext>
                  </a:extLst>
                </p:cNvPr>
                <p:cNvSpPr/>
                <p:nvPr/>
              </p:nvSpPr>
              <p:spPr>
                <a:xfrm>
                  <a:off x="6429236" y="1286587"/>
                  <a:ext cx="2167941" cy="2167941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026" name="Picture 2">
                  <a:extLst>
                    <a:ext uri="{FF2B5EF4-FFF2-40B4-BE49-F238E27FC236}">
                      <a16:creationId xmlns:a16="http://schemas.microsoft.com/office/drawing/2014/main" id="{DB1B446A-0C68-7CA3-693B-B88F319032E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804918" y="1643872"/>
                  <a:ext cx="1416577" cy="145337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69" name="그룹 68">
                <a:extLst>
                  <a:ext uri="{FF2B5EF4-FFF2-40B4-BE49-F238E27FC236}">
                    <a16:creationId xmlns:a16="http://schemas.microsoft.com/office/drawing/2014/main" id="{746B6C19-DF67-00B1-40F8-7798456177CB}"/>
                  </a:ext>
                </a:extLst>
              </p:cNvPr>
              <p:cNvGrpSpPr/>
              <p:nvPr/>
            </p:nvGrpSpPr>
            <p:grpSpPr>
              <a:xfrm>
                <a:off x="9544683" y="3997363"/>
                <a:ext cx="2167941" cy="2167941"/>
                <a:chOff x="9263651" y="1286587"/>
                <a:chExt cx="2167941" cy="2167941"/>
              </a:xfrm>
            </p:grpSpPr>
            <p:sp>
              <p:nvSpPr>
                <p:cNvPr id="4" name="타원 3">
                  <a:extLst>
                    <a:ext uri="{FF2B5EF4-FFF2-40B4-BE49-F238E27FC236}">
                      <a16:creationId xmlns:a16="http://schemas.microsoft.com/office/drawing/2014/main" id="{F5D33081-CDEB-68C2-6AFA-BA4ED291D33A}"/>
                    </a:ext>
                  </a:extLst>
                </p:cNvPr>
                <p:cNvSpPr/>
                <p:nvPr/>
              </p:nvSpPr>
              <p:spPr>
                <a:xfrm>
                  <a:off x="9263651" y="1286587"/>
                  <a:ext cx="2167941" cy="2167941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028" name="Picture 4" descr="충청북도 로고 AI 일러스트 파일 다운">
                  <a:extLst>
                    <a:ext uri="{FF2B5EF4-FFF2-40B4-BE49-F238E27FC236}">
                      <a16:creationId xmlns:a16="http://schemas.microsoft.com/office/drawing/2014/main" id="{BC7ACE93-E2E9-1B8B-D7ED-1C6EFC72B2F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3415" t="21121" r="21474" b="18078"/>
                <a:stretch/>
              </p:blipFill>
              <p:spPr bwMode="auto">
                <a:xfrm>
                  <a:off x="9680927" y="1635042"/>
                  <a:ext cx="1333391" cy="147103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45DAED7C-7E97-1F88-6A4C-39E3F4949CB1}"/>
                  </a:ext>
                </a:extLst>
              </p:cNvPr>
              <p:cNvSpPr txBox="1"/>
              <p:nvPr/>
            </p:nvSpPr>
            <p:spPr>
              <a:xfrm>
                <a:off x="9549813" y="857438"/>
                <a:ext cx="2157680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ko-KR" altLang="en-US" sz="2400" b="1" u="sng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일부 소멸 위기</a:t>
                </a:r>
              </a:p>
            </p:txBody>
          </p:sp>
        </p:grpSp>
      </p:grpSp>
      <p:pic>
        <p:nvPicPr>
          <p:cNvPr id="15" name="그림 14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732D4255-D49E-E43B-39DB-DAA8710A4A5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V="1">
            <a:off x="1160890" y="3616674"/>
            <a:ext cx="3790192" cy="538012"/>
          </a:xfrm>
          <a:prstGeom prst="rect">
            <a:avLst/>
          </a:prstGeom>
        </p:spPr>
      </p:pic>
      <p:pic>
        <p:nvPicPr>
          <p:cNvPr id="16" name="그림 15" descr="물, 음악, 어두운, 기타이(가) 표시된 사진&#10;&#10;자동 생성된 설명">
            <a:extLst>
              <a:ext uri="{FF2B5EF4-FFF2-40B4-BE49-F238E27FC236}">
                <a16:creationId xmlns:a16="http://schemas.microsoft.com/office/drawing/2014/main" id="{A6B7E7B2-1567-A3ED-6CBB-0F4104139B5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 flipH="1" flipV="1">
            <a:off x="7240918" y="3616673"/>
            <a:ext cx="3790192" cy="53801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4C21ED6-6D39-6B5A-4455-8BBC64521147}"/>
              </a:ext>
            </a:extLst>
          </p:cNvPr>
          <p:cNvSpPr txBox="1"/>
          <p:nvPr/>
        </p:nvSpPr>
        <p:spPr>
          <a:xfrm>
            <a:off x="3514504" y="3919696"/>
            <a:ext cx="5162993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 algn="ctr">
              <a:defRPr sz="320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defRPr>
            </a:lvl1pPr>
          </a:lstStyle>
          <a:p>
            <a:pPr>
              <a:lnSpc>
                <a:spcPct val="150000"/>
              </a:lnSpc>
            </a:pPr>
            <a:r>
              <a:rPr lang="en-US" altLang="ko-KR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“</a:t>
            </a:r>
            <a:r>
              <a:rPr lang="ko-KR" altLang="en-US" sz="28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비수도권이지만</a:t>
            </a:r>
            <a:r>
              <a:rPr lang="ko-KR" altLang="en-US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altLang="ko-KR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ko-KR" altLang="en-US" sz="2800" b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사람이 몰리는 </a:t>
            </a:r>
            <a:r>
              <a:rPr lang="ko-KR" altLang="en-US" sz="2800" b="1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도시</a:t>
            </a:r>
            <a:r>
              <a:rPr lang="ko-KR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와 </a:t>
            </a:r>
            <a:endParaRPr lang="en-US" altLang="ko-KR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ko-KR" altLang="en-US" sz="2800" b="1" u="sng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지방소멸위기</a:t>
            </a:r>
            <a:r>
              <a:rPr lang="ko-KR" altLang="en-US" sz="2800" b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도시</a:t>
            </a:r>
            <a:r>
              <a:rPr lang="ko-KR" altLang="en-US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가 다수 속해 있어 양극화를 분석하기 적당하다 판단.</a:t>
            </a:r>
            <a:r>
              <a:rPr lang="en-US" altLang="ko-KR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”</a:t>
            </a:r>
            <a:endParaRPr lang="ko-KR" altLang="en-US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37" name="그룹 36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38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39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40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41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42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2380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>
            <a:extLst>
              <a:ext uri="{FF2B5EF4-FFF2-40B4-BE49-F238E27FC236}">
                <a16:creationId xmlns:a16="http://schemas.microsoft.com/office/drawing/2014/main" id="{9EBB33C2-9D9E-B4B0-4FC9-39824D3D80DE}"/>
              </a:ext>
            </a:extLst>
          </p:cNvPr>
          <p:cNvGrpSpPr/>
          <p:nvPr/>
        </p:nvGrpSpPr>
        <p:grpSpPr>
          <a:xfrm>
            <a:off x="207339" y="795782"/>
            <a:ext cx="11777322" cy="872014"/>
            <a:chOff x="2089551" y="993051"/>
            <a:chExt cx="8044889" cy="872014"/>
          </a:xfrm>
        </p:grpSpPr>
        <p:sp>
          <p:nvSpPr>
            <p:cNvPr id="61" name="모서리가 둥근 직사각형 60"/>
            <p:cNvSpPr/>
            <p:nvPr/>
          </p:nvSpPr>
          <p:spPr>
            <a:xfrm>
              <a:off x="2089551" y="993051"/>
              <a:ext cx="8044889" cy="872014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  <p:sp>
          <p:nvSpPr>
            <p:cNvPr id="399" name="직사각형 398"/>
            <p:cNvSpPr/>
            <p:nvPr/>
          </p:nvSpPr>
          <p:spPr>
            <a:xfrm>
              <a:off x="3583097" y="1196111"/>
              <a:ext cx="5057796" cy="46589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altLang="ko-KR" sz="2400" b="1" dirty="0">
                  <a:solidFill>
                    <a:schemeClr val="bg1">
                      <a:lumMod val="9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ata Analytics Professional Team</a:t>
              </a:r>
              <a:endParaRPr lang="ko-KR" altLang="en-US" sz="2400" b="1" dirty="0">
                <a:solidFill>
                  <a:schemeClr val="bg1">
                    <a:lumMod val="95000"/>
                  </a:schemeClr>
                </a:solidFill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59" name="그룹 58">
            <a:extLst>
              <a:ext uri="{FF2B5EF4-FFF2-40B4-BE49-F238E27FC236}">
                <a16:creationId xmlns:a16="http://schemas.microsoft.com/office/drawing/2014/main" id="{1476C88F-A599-D035-6247-3003BCC7EF85}"/>
              </a:ext>
            </a:extLst>
          </p:cNvPr>
          <p:cNvGrpSpPr/>
          <p:nvPr/>
        </p:nvGrpSpPr>
        <p:grpSpPr>
          <a:xfrm>
            <a:off x="5133396" y="1870856"/>
            <a:ext cx="1854351" cy="4845501"/>
            <a:chOff x="5133396" y="1870856"/>
            <a:chExt cx="1854351" cy="4845501"/>
          </a:xfrm>
        </p:grpSpPr>
        <p:cxnSp>
          <p:nvCxnSpPr>
            <p:cNvPr id="45" name="직선 연결선 44">
              <a:extLst>
                <a:ext uri="{FF2B5EF4-FFF2-40B4-BE49-F238E27FC236}">
                  <a16:creationId xmlns:a16="http://schemas.microsoft.com/office/drawing/2014/main" id="{B4BF7EE6-A815-5410-07C9-107B3A8C141A}"/>
                </a:ext>
              </a:extLst>
            </p:cNvPr>
            <p:cNvCxnSpPr>
              <a:cxnSpLocks/>
              <a:stCxn id="26" idx="0"/>
              <a:endCxn id="385" idx="2"/>
            </p:cNvCxnSpPr>
            <p:nvPr/>
          </p:nvCxnSpPr>
          <p:spPr>
            <a:xfrm flipV="1">
              <a:off x="6060572" y="4958171"/>
              <a:ext cx="0" cy="280361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DB0B8AF7-F293-0EC9-7A71-3582CE4F7DD2}"/>
                </a:ext>
              </a:extLst>
            </p:cNvPr>
            <p:cNvGrpSpPr/>
            <p:nvPr/>
          </p:nvGrpSpPr>
          <p:grpSpPr>
            <a:xfrm>
              <a:off x="5133396" y="1870856"/>
              <a:ext cx="1854351" cy="3087315"/>
              <a:chOff x="7391368" y="1911169"/>
              <a:chExt cx="1854351" cy="3087315"/>
            </a:xfrm>
          </p:grpSpPr>
          <p:pic>
            <p:nvPicPr>
              <p:cNvPr id="385" name="그림 384">
                <a:extLst>
                  <a:ext uri="{FF2B5EF4-FFF2-40B4-BE49-F238E27FC236}">
                    <a16:creationId xmlns:a16="http://schemas.microsoft.com/office/drawing/2014/main" id="{FE7BA08B-8C43-5295-0EE2-38D75FC91D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391368" y="2614319"/>
                <a:ext cx="1854351" cy="2384165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glow rad="101600">
                  <a:schemeClr val="tx1">
                    <a:lumMod val="75000"/>
                    <a:lumOff val="25000"/>
                    <a:alpha val="60000"/>
                  </a:schemeClr>
                </a:glow>
              </a:effectLst>
            </p:spPr>
          </p:pic>
          <p:sp>
            <p:nvSpPr>
              <p:cNvPr id="390" name="직사각형 389"/>
              <p:cNvSpPr/>
              <p:nvPr/>
            </p:nvSpPr>
            <p:spPr>
              <a:xfrm>
                <a:off x="7759736" y="1911169"/>
                <a:ext cx="1117615" cy="52322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2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박주찬</a:t>
                </a:r>
              </a:p>
            </p:txBody>
          </p:sp>
        </p:grp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C9AAEDD9-1BFD-BBBC-BD5E-D5A427848545}"/>
                </a:ext>
              </a:extLst>
            </p:cNvPr>
            <p:cNvGrpSpPr/>
            <p:nvPr/>
          </p:nvGrpSpPr>
          <p:grpSpPr>
            <a:xfrm>
              <a:off x="5164132" y="5238532"/>
              <a:ext cx="1792879" cy="1477825"/>
              <a:chOff x="5131281" y="5238532"/>
              <a:chExt cx="1792879" cy="1477825"/>
            </a:xfrm>
          </p:grpSpPr>
          <p:sp>
            <p:nvSpPr>
              <p:cNvPr id="26" name="사각형: 둥근 모서리 25">
                <a:extLst>
                  <a:ext uri="{FF2B5EF4-FFF2-40B4-BE49-F238E27FC236}">
                    <a16:creationId xmlns:a16="http://schemas.microsoft.com/office/drawing/2014/main" id="{E1831223-0295-BC18-76A5-0F592B16BB48}"/>
                  </a:ext>
                </a:extLst>
              </p:cNvPr>
              <p:cNvSpPr/>
              <p:nvPr/>
            </p:nvSpPr>
            <p:spPr>
              <a:xfrm>
                <a:off x="5131281" y="5238532"/>
                <a:ext cx="1792879" cy="1477825"/>
              </a:xfrm>
              <a:prstGeom prst="roundRect">
                <a:avLst>
                  <a:gd name="adj" fmla="val 7730"/>
                </a:avLst>
              </a:prstGeom>
              <a:solidFill>
                <a:schemeClr val="bg2">
                  <a:lumMod val="9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6F38F277-402B-3A90-74B6-88D6B9FE0EC9}"/>
                  </a:ext>
                </a:extLst>
              </p:cNvPr>
              <p:cNvSpPr txBox="1"/>
              <p:nvPr/>
            </p:nvSpPr>
            <p:spPr>
              <a:xfrm>
                <a:off x="5153122" y="5331979"/>
                <a:ext cx="1749197" cy="12909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계획 수립 및 총괄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US" altLang="ko-KR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ML</a:t>
                </a: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모델 구축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데이터 </a:t>
                </a:r>
                <a:r>
                  <a:rPr lang="ko-KR" altLang="en-US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전처리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</p:grpSp>
      <p:grpSp>
        <p:nvGrpSpPr>
          <p:cNvPr id="56" name="그룹 55">
            <a:extLst>
              <a:ext uri="{FF2B5EF4-FFF2-40B4-BE49-F238E27FC236}">
                <a16:creationId xmlns:a16="http://schemas.microsoft.com/office/drawing/2014/main" id="{8887C7F5-5E41-A956-7B7F-8FF6F8C04C7F}"/>
              </a:ext>
            </a:extLst>
          </p:cNvPr>
          <p:cNvGrpSpPr/>
          <p:nvPr/>
        </p:nvGrpSpPr>
        <p:grpSpPr>
          <a:xfrm>
            <a:off x="2647595" y="1870856"/>
            <a:ext cx="1792879" cy="4845501"/>
            <a:chOff x="2647595" y="1870856"/>
            <a:chExt cx="1792879" cy="4845501"/>
          </a:xfrm>
        </p:grpSpPr>
        <p:cxnSp>
          <p:nvCxnSpPr>
            <p:cNvPr id="42" name="직선 연결선 41">
              <a:extLst>
                <a:ext uri="{FF2B5EF4-FFF2-40B4-BE49-F238E27FC236}">
                  <a16:creationId xmlns:a16="http://schemas.microsoft.com/office/drawing/2014/main" id="{EB6BD129-2D99-9691-32E5-3521F31EF4A6}"/>
                </a:ext>
              </a:extLst>
            </p:cNvPr>
            <p:cNvCxnSpPr>
              <a:cxnSpLocks/>
              <a:stCxn id="25" idx="0"/>
              <a:endCxn id="52" idx="2"/>
            </p:cNvCxnSpPr>
            <p:nvPr/>
          </p:nvCxnSpPr>
          <p:spPr>
            <a:xfrm flipH="1" flipV="1">
              <a:off x="3544034" y="4967757"/>
              <a:ext cx="1" cy="270775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grpSp>
          <p:nvGrpSpPr>
            <p:cNvPr id="10" name="그룹 9">
              <a:extLst>
                <a:ext uri="{FF2B5EF4-FFF2-40B4-BE49-F238E27FC236}">
                  <a16:creationId xmlns:a16="http://schemas.microsoft.com/office/drawing/2014/main" id="{9A4083A6-C4C9-E185-FB84-21C3382EAD50}"/>
                </a:ext>
              </a:extLst>
            </p:cNvPr>
            <p:cNvGrpSpPr/>
            <p:nvPr/>
          </p:nvGrpSpPr>
          <p:grpSpPr>
            <a:xfrm>
              <a:off x="2652726" y="1870856"/>
              <a:ext cx="1782616" cy="3096901"/>
              <a:chOff x="2891852" y="1882893"/>
              <a:chExt cx="1782616" cy="3096901"/>
            </a:xfrm>
          </p:grpSpPr>
          <p:sp>
            <p:nvSpPr>
              <p:cNvPr id="398" name="직사각형 397"/>
              <p:cNvSpPr/>
              <p:nvPr/>
            </p:nvSpPr>
            <p:spPr>
              <a:xfrm>
                <a:off x="3224353" y="1882893"/>
                <a:ext cx="1117615" cy="52322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2800" b="1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신정윤</a:t>
                </a:r>
                <a:endParaRPr lang="ko-KR" altLang="en-US" sz="2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pic>
            <p:nvPicPr>
              <p:cNvPr id="52" name="그림 51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891852" y="2602973"/>
                <a:ext cx="1782616" cy="2376821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glow rad="101600">
                  <a:schemeClr val="tx1">
                    <a:lumMod val="75000"/>
                    <a:lumOff val="25000"/>
                    <a:alpha val="60000"/>
                  </a:schemeClr>
                </a:glow>
              </a:effectLst>
            </p:spPr>
          </p:pic>
        </p:grpSp>
        <p:sp>
          <p:nvSpPr>
            <p:cNvPr id="25" name="사각형: 둥근 모서리 24">
              <a:extLst>
                <a:ext uri="{FF2B5EF4-FFF2-40B4-BE49-F238E27FC236}">
                  <a16:creationId xmlns:a16="http://schemas.microsoft.com/office/drawing/2014/main" id="{614E8E9C-FFCF-639E-F06A-E0B2F804F11D}"/>
                </a:ext>
              </a:extLst>
            </p:cNvPr>
            <p:cNvSpPr/>
            <p:nvPr/>
          </p:nvSpPr>
          <p:spPr>
            <a:xfrm>
              <a:off x="2647595" y="5238532"/>
              <a:ext cx="1792879" cy="1477825"/>
            </a:xfrm>
            <a:prstGeom prst="roundRect">
              <a:avLst>
                <a:gd name="adj" fmla="val 7730"/>
              </a:avLst>
            </a:prstGeom>
            <a:solidFill>
              <a:schemeClr val="bg2">
                <a:lumMod val="90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523D28C-9D51-9668-CA9C-42D626530C05}"/>
                </a:ext>
              </a:extLst>
            </p:cNvPr>
            <p:cNvSpPr txBox="1"/>
            <p:nvPr/>
          </p:nvSpPr>
          <p:spPr>
            <a:xfrm>
              <a:off x="2717526" y="5331979"/>
              <a:ext cx="1653017" cy="133882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DB </a:t>
              </a:r>
              <a:r>
                <a:rPr lang="ko-KR" altLang="en-US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설계 및 구축</a:t>
              </a:r>
              <a:endPara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</a:t>
              </a:r>
              <a:r>
                <a:rPr lang="ko-KR" altLang="en-US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전처리</a:t>
              </a:r>
              <a:endPara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자료탐색</a:t>
              </a:r>
              <a:endPara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grpSp>
        <p:nvGrpSpPr>
          <p:cNvPr id="62" name="그룹 61">
            <a:extLst>
              <a:ext uri="{FF2B5EF4-FFF2-40B4-BE49-F238E27FC236}">
                <a16:creationId xmlns:a16="http://schemas.microsoft.com/office/drawing/2014/main" id="{C164DF36-1991-6727-B5B2-35D5C74C67AA}"/>
              </a:ext>
            </a:extLst>
          </p:cNvPr>
          <p:cNvGrpSpPr/>
          <p:nvPr/>
        </p:nvGrpSpPr>
        <p:grpSpPr>
          <a:xfrm>
            <a:off x="10191782" y="1870856"/>
            <a:ext cx="1792879" cy="4845500"/>
            <a:chOff x="10191782" y="1870856"/>
            <a:chExt cx="1792879" cy="4845500"/>
          </a:xfrm>
        </p:grpSpPr>
        <p:cxnSp>
          <p:nvCxnSpPr>
            <p:cNvPr id="53" name="직선 연결선 52">
              <a:extLst>
                <a:ext uri="{FF2B5EF4-FFF2-40B4-BE49-F238E27FC236}">
                  <a16:creationId xmlns:a16="http://schemas.microsoft.com/office/drawing/2014/main" id="{FB7475F8-0C3F-FEB1-BA30-3CB27124DC53}"/>
                </a:ext>
              </a:extLst>
            </p:cNvPr>
            <p:cNvCxnSpPr>
              <a:cxnSpLocks/>
              <a:stCxn id="30" idx="0"/>
              <a:endCxn id="387" idx="2"/>
            </p:cNvCxnSpPr>
            <p:nvPr/>
          </p:nvCxnSpPr>
          <p:spPr>
            <a:xfrm flipV="1">
              <a:off x="11088222" y="4972863"/>
              <a:ext cx="2377" cy="265668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7B476EB3-1B17-89A8-814E-18287DC61987}"/>
                </a:ext>
              </a:extLst>
            </p:cNvPr>
            <p:cNvGrpSpPr/>
            <p:nvPr/>
          </p:nvGrpSpPr>
          <p:grpSpPr>
            <a:xfrm>
              <a:off x="10196536" y="1870856"/>
              <a:ext cx="1788125" cy="3102007"/>
              <a:chOff x="667079" y="1911169"/>
              <a:chExt cx="1788125" cy="3102007"/>
            </a:xfrm>
          </p:grpSpPr>
          <p:pic>
            <p:nvPicPr>
              <p:cNvPr id="387" name="그림 386">
                <a:extLst>
                  <a:ext uri="{FF2B5EF4-FFF2-40B4-BE49-F238E27FC236}">
                    <a16:creationId xmlns:a16="http://schemas.microsoft.com/office/drawing/2014/main" id="{D1076A6C-5C5A-1961-5014-AE73226FAF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67079" y="2629010"/>
                <a:ext cx="1788125" cy="2384166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glow rad="101600">
                  <a:schemeClr val="tx1">
                    <a:lumMod val="75000"/>
                    <a:lumOff val="25000"/>
                    <a:alpha val="60000"/>
                  </a:schemeClr>
                </a:glow>
              </a:effectLst>
            </p:spPr>
          </p:pic>
          <p:sp>
            <p:nvSpPr>
              <p:cNvPr id="389" name="직사각형 388"/>
              <p:cNvSpPr/>
              <p:nvPr/>
            </p:nvSpPr>
            <p:spPr>
              <a:xfrm>
                <a:off x="1002334" y="1911169"/>
                <a:ext cx="1117615" cy="52322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2800" b="1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오승필</a:t>
                </a:r>
                <a:endParaRPr lang="ko-KR" altLang="en-US" sz="2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  <p:grpSp>
          <p:nvGrpSpPr>
            <p:cNvPr id="31" name="그룹 30">
              <a:extLst>
                <a:ext uri="{FF2B5EF4-FFF2-40B4-BE49-F238E27FC236}">
                  <a16:creationId xmlns:a16="http://schemas.microsoft.com/office/drawing/2014/main" id="{224103E5-5F1D-0321-32FC-10F8D282D12C}"/>
                </a:ext>
              </a:extLst>
            </p:cNvPr>
            <p:cNvGrpSpPr/>
            <p:nvPr/>
          </p:nvGrpSpPr>
          <p:grpSpPr>
            <a:xfrm>
              <a:off x="10191782" y="5238531"/>
              <a:ext cx="1792879" cy="1477825"/>
              <a:chOff x="10196536" y="5164616"/>
              <a:chExt cx="1792879" cy="1477825"/>
            </a:xfrm>
          </p:grpSpPr>
          <p:sp>
            <p:nvSpPr>
              <p:cNvPr id="30" name="사각형: 둥근 모서리 29">
                <a:extLst>
                  <a:ext uri="{FF2B5EF4-FFF2-40B4-BE49-F238E27FC236}">
                    <a16:creationId xmlns:a16="http://schemas.microsoft.com/office/drawing/2014/main" id="{80C85782-AF5E-F297-A3A0-07D191AB025B}"/>
                  </a:ext>
                </a:extLst>
              </p:cNvPr>
              <p:cNvSpPr/>
              <p:nvPr/>
            </p:nvSpPr>
            <p:spPr>
              <a:xfrm>
                <a:off x="10196536" y="5164616"/>
                <a:ext cx="1792879" cy="1477825"/>
              </a:xfrm>
              <a:prstGeom prst="roundRect">
                <a:avLst>
                  <a:gd name="adj" fmla="val 7730"/>
                </a:avLst>
              </a:prstGeom>
              <a:solidFill>
                <a:schemeClr val="bg2">
                  <a:lumMod val="9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849807E9-E327-3B77-64F7-24AC170A06C0}"/>
                  </a:ext>
                </a:extLst>
              </p:cNvPr>
              <p:cNvSpPr txBox="1"/>
              <p:nvPr/>
            </p:nvSpPr>
            <p:spPr>
              <a:xfrm>
                <a:off x="10375471" y="5258063"/>
                <a:ext cx="1435008" cy="133882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ko-KR" altLang="en-US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백엔드</a:t>
                </a: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구축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데이터 시각화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ko-KR" altLang="en-US" dirty="0" err="1" smtClean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자료탐색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</p:grpSp>
      <p:grpSp>
        <p:nvGrpSpPr>
          <p:cNvPr id="60" name="그룹 59">
            <a:extLst>
              <a:ext uri="{FF2B5EF4-FFF2-40B4-BE49-F238E27FC236}">
                <a16:creationId xmlns:a16="http://schemas.microsoft.com/office/drawing/2014/main" id="{FB364A12-B165-7546-9409-B18902BCABCC}"/>
              </a:ext>
            </a:extLst>
          </p:cNvPr>
          <p:cNvGrpSpPr/>
          <p:nvPr/>
        </p:nvGrpSpPr>
        <p:grpSpPr>
          <a:xfrm>
            <a:off x="7658897" y="1870856"/>
            <a:ext cx="1854000" cy="4850845"/>
            <a:chOff x="7658897" y="1870856"/>
            <a:chExt cx="1854000" cy="4850845"/>
          </a:xfrm>
        </p:grpSpPr>
        <p:cxnSp>
          <p:nvCxnSpPr>
            <p:cNvPr id="49" name="직선 연결선 48">
              <a:extLst>
                <a:ext uri="{FF2B5EF4-FFF2-40B4-BE49-F238E27FC236}">
                  <a16:creationId xmlns:a16="http://schemas.microsoft.com/office/drawing/2014/main" id="{29AD2156-98D2-E146-DCEF-813446AE0030}"/>
                </a:ext>
              </a:extLst>
            </p:cNvPr>
            <p:cNvCxnSpPr>
              <a:cxnSpLocks/>
              <a:stCxn id="27" idx="0"/>
              <a:endCxn id="68" idx="2"/>
            </p:cNvCxnSpPr>
            <p:nvPr/>
          </p:nvCxnSpPr>
          <p:spPr>
            <a:xfrm flipH="1" flipV="1">
              <a:off x="8585897" y="4957206"/>
              <a:ext cx="1" cy="28667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grpSp>
          <p:nvGrpSpPr>
            <p:cNvPr id="13" name="그룹 12">
              <a:extLst>
                <a:ext uri="{FF2B5EF4-FFF2-40B4-BE49-F238E27FC236}">
                  <a16:creationId xmlns:a16="http://schemas.microsoft.com/office/drawing/2014/main" id="{F06B7D1E-2634-BA57-74C4-4868AC32A190}"/>
                </a:ext>
              </a:extLst>
            </p:cNvPr>
            <p:cNvGrpSpPr/>
            <p:nvPr/>
          </p:nvGrpSpPr>
          <p:grpSpPr>
            <a:xfrm>
              <a:off x="7658897" y="1870856"/>
              <a:ext cx="1854000" cy="3086350"/>
              <a:chOff x="9670921" y="1911169"/>
              <a:chExt cx="1854000" cy="3086350"/>
            </a:xfrm>
          </p:grpSpPr>
          <p:sp>
            <p:nvSpPr>
              <p:cNvPr id="391" name="직사각형 390"/>
              <p:cNvSpPr/>
              <p:nvPr/>
            </p:nvSpPr>
            <p:spPr>
              <a:xfrm>
                <a:off x="10039114" y="1911169"/>
                <a:ext cx="1117615" cy="52322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2800" b="1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이의재</a:t>
                </a:r>
                <a:endParaRPr lang="ko-KR" altLang="en-US" sz="2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  <p:pic>
            <p:nvPicPr>
              <p:cNvPr id="68" name="그림 67"/>
              <p:cNvPicPr>
                <a:picLocks/>
              </p:cNvPicPr>
              <p:nvPr/>
            </p:nvPicPr>
            <p:blipFill rotWithShape="1">
              <a:blip r:embed="rId6"/>
              <a:srcRect l="6129" t="4669" r="4856" b="3208"/>
              <a:stretch/>
            </p:blipFill>
            <p:spPr>
              <a:xfrm>
                <a:off x="9670921" y="2614319"/>
                <a:ext cx="1854000" cy="23832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glow rad="101600">
                  <a:schemeClr val="tx1">
                    <a:lumMod val="75000"/>
                    <a:lumOff val="25000"/>
                    <a:alpha val="60000"/>
                  </a:schemeClr>
                </a:glow>
              </a:effectLst>
            </p:spPr>
          </p:pic>
        </p:grpSp>
        <p:grpSp>
          <p:nvGrpSpPr>
            <p:cNvPr id="32" name="그룹 31">
              <a:extLst>
                <a:ext uri="{FF2B5EF4-FFF2-40B4-BE49-F238E27FC236}">
                  <a16:creationId xmlns:a16="http://schemas.microsoft.com/office/drawing/2014/main" id="{087A112D-B101-008F-FC3B-50408A13C248}"/>
                </a:ext>
              </a:extLst>
            </p:cNvPr>
            <p:cNvGrpSpPr/>
            <p:nvPr/>
          </p:nvGrpSpPr>
          <p:grpSpPr>
            <a:xfrm>
              <a:off x="7689458" y="5243876"/>
              <a:ext cx="1792879" cy="1477825"/>
              <a:chOff x="7651595" y="5169961"/>
              <a:chExt cx="1792879" cy="1477825"/>
            </a:xfrm>
          </p:grpSpPr>
          <p:sp>
            <p:nvSpPr>
              <p:cNvPr id="27" name="사각형: 둥근 모서리 26">
                <a:extLst>
                  <a:ext uri="{FF2B5EF4-FFF2-40B4-BE49-F238E27FC236}">
                    <a16:creationId xmlns:a16="http://schemas.microsoft.com/office/drawing/2014/main" id="{8269C9EB-CB77-0780-A962-4145BE7229A6}"/>
                  </a:ext>
                </a:extLst>
              </p:cNvPr>
              <p:cNvSpPr/>
              <p:nvPr/>
            </p:nvSpPr>
            <p:spPr>
              <a:xfrm>
                <a:off x="7651595" y="5169961"/>
                <a:ext cx="1792879" cy="1477825"/>
              </a:xfrm>
              <a:prstGeom prst="roundRect">
                <a:avLst>
                  <a:gd name="adj" fmla="val 7730"/>
                </a:avLst>
              </a:prstGeom>
              <a:solidFill>
                <a:schemeClr val="bg2">
                  <a:lumMod val="9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atinLnBrk="0">
                  <a:lnSpc>
                    <a:spcPct val="120000"/>
                  </a:lnSpc>
                  <a:defRPr/>
                </a:pPr>
                <a:endParaRPr lang="ko-KR" altLang="en-US" sz="1015">
                  <a:solidFill>
                    <a:srgbClr val="000000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  <a:sym typeface="Arial"/>
                </a:endParaRP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27217023-C0D7-5D60-E335-ACCF133985CD}"/>
                  </a:ext>
                </a:extLst>
              </p:cNvPr>
              <p:cNvSpPr txBox="1"/>
              <p:nvPr/>
            </p:nvSpPr>
            <p:spPr>
              <a:xfrm>
                <a:off x="7830530" y="5263408"/>
                <a:ext cx="1435008" cy="12909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ko-KR" altLang="en-US" dirty="0" err="1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백엔드</a:t>
                </a: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 구축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데이터 시각화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ko-KR" altLang="en-US" dirty="0"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자료분석</a:t>
                </a:r>
                <a:endParaRPr lang="en-US" altLang="ko-KR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endParaRPr>
              </a:p>
            </p:txBody>
          </p:sp>
        </p:grpSp>
      </p:grp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B93002A9-4D6A-A87B-F269-003FCB585C6C}"/>
              </a:ext>
            </a:extLst>
          </p:cNvPr>
          <p:cNvGrpSpPr/>
          <p:nvPr/>
        </p:nvGrpSpPr>
        <p:grpSpPr>
          <a:xfrm>
            <a:off x="207339" y="1870856"/>
            <a:ext cx="1792879" cy="4845501"/>
            <a:chOff x="207339" y="1870856"/>
            <a:chExt cx="1792879" cy="4845501"/>
          </a:xfrm>
        </p:grpSpPr>
        <p:cxnSp>
          <p:nvCxnSpPr>
            <p:cNvPr id="38" name="직선 연결선 37">
              <a:extLst>
                <a:ext uri="{FF2B5EF4-FFF2-40B4-BE49-F238E27FC236}">
                  <a16:creationId xmlns:a16="http://schemas.microsoft.com/office/drawing/2014/main" id="{094A95F6-B706-968A-D31B-6C36CB5DC44D}"/>
                </a:ext>
              </a:extLst>
            </p:cNvPr>
            <p:cNvCxnSpPr>
              <a:cxnSpLocks/>
              <a:stCxn id="24" idx="0"/>
              <a:endCxn id="386" idx="2"/>
            </p:cNvCxnSpPr>
            <p:nvPr/>
          </p:nvCxnSpPr>
          <p:spPr>
            <a:xfrm flipV="1">
              <a:off x="1103779" y="4958172"/>
              <a:ext cx="0" cy="28036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dash"/>
              <a:headEnd type="oval" w="med" len="med"/>
              <a:tailEnd type="oval" w="med" len="med"/>
            </a:ln>
            <a:effectLst/>
          </p:spPr>
        </p:cxn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A7379260-2BDA-D2AB-3F18-7E7EFB9D45B3}"/>
                </a:ext>
              </a:extLst>
            </p:cNvPr>
            <p:cNvGrpSpPr/>
            <p:nvPr/>
          </p:nvGrpSpPr>
          <p:grpSpPr>
            <a:xfrm>
              <a:off x="207339" y="1870856"/>
              <a:ext cx="1792879" cy="3087316"/>
              <a:chOff x="5139822" y="1911169"/>
              <a:chExt cx="1792879" cy="3087316"/>
            </a:xfrm>
          </p:grpSpPr>
          <p:pic>
            <p:nvPicPr>
              <p:cNvPr id="386" name="그림 385">
                <a:extLst>
                  <a:ext uri="{FF2B5EF4-FFF2-40B4-BE49-F238E27FC236}">
                    <a16:creationId xmlns:a16="http://schemas.microsoft.com/office/drawing/2014/main" id="{97D5B861-489D-7420-12F0-3BCB5409B1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139822" y="2614319"/>
                <a:ext cx="1792879" cy="2384166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glow rad="101600">
                  <a:schemeClr val="tx1">
                    <a:lumMod val="75000"/>
                    <a:lumOff val="25000"/>
                    <a:alpha val="60000"/>
                  </a:schemeClr>
                </a:glow>
              </a:effectLst>
            </p:spPr>
          </p:pic>
          <p:sp>
            <p:nvSpPr>
              <p:cNvPr id="388" name="직사각형 387"/>
              <p:cNvSpPr/>
              <p:nvPr/>
            </p:nvSpPr>
            <p:spPr>
              <a:xfrm>
                <a:off x="5477454" y="1911169"/>
                <a:ext cx="1117615" cy="52322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ko-KR" altLang="en-US" sz="2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etendard" panose="02000503000000020004" pitchFamily="50" charset="-127"/>
                    <a:ea typeface="Pretendard" panose="02000503000000020004" pitchFamily="50" charset="-127"/>
                    <a:cs typeface="Pretendard" panose="02000503000000020004" pitchFamily="50" charset="-127"/>
                  </a:rPr>
                  <a:t>성우진</a:t>
                </a:r>
              </a:p>
            </p:txBody>
          </p:sp>
        </p:grpSp>
        <p:sp>
          <p:nvSpPr>
            <p:cNvPr id="24" name="사각형: 둥근 모서리 23">
              <a:extLst>
                <a:ext uri="{FF2B5EF4-FFF2-40B4-BE49-F238E27FC236}">
                  <a16:creationId xmlns:a16="http://schemas.microsoft.com/office/drawing/2014/main" id="{C9FA8FF7-FBA6-5414-8C82-B9C474C21F02}"/>
                </a:ext>
              </a:extLst>
            </p:cNvPr>
            <p:cNvSpPr/>
            <p:nvPr/>
          </p:nvSpPr>
          <p:spPr>
            <a:xfrm>
              <a:off x="207339" y="5238532"/>
              <a:ext cx="1792879" cy="1477825"/>
            </a:xfrm>
            <a:prstGeom prst="roundRect">
              <a:avLst>
                <a:gd name="adj" fmla="val 7730"/>
              </a:avLst>
            </a:prstGeom>
            <a:solidFill>
              <a:schemeClr val="bg2">
                <a:lumMod val="90000"/>
              </a:schemeClr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F9EB7D0-89E9-6B4C-AE67-EA4578A35333}"/>
                </a:ext>
              </a:extLst>
            </p:cNvPr>
            <p:cNvSpPr txBox="1"/>
            <p:nvPr/>
          </p:nvSpPr>
          <p:spPr>
            <a:xfrm>
              <a:off x="386274" y="5331979"/>
              <a:ext cx="1435008" cy="133882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ko-KR" altLang="en-US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</a:t>
              </a:r>
              <a:r>
                <a:rPr lang="ko-KR" altLang="en-US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크롤링</a:t>
              </a:r>
              <a:endPara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dirty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데이터 </a:t>
              </a:r>
              <a:r>
                <a:rPr lang="ko-KR" altLang="en-US" dirty="0" err="1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전처리</a:t>
              </a:r>
              <a:endPara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  <a:p>
              <a:pPr algn="ctr">
                <a:lnSpc>
                  <a:spcPct val="150000"/>
                </a:lnSpc>
              </a:pPr>
              <a:r>
                <a:rPr lang="ko-KR" altLang="en-US" dirty="0" err="1" smtClean="0">
                  <a:latin typeface="Pretendard" panose="02000503000000020004" pitchFamily="50" charset="-127"/>
                  <a:ea typeface="Pretendard" panose="02000503000000020004" pitchFamily="50" charset="-127"/>
                  <a:cs typeface="Pretendard" panose="02000503000000020004" pitchFamily="50" charset="-127"/>
                </a:rPr>
                <a:t>자료탐색</a:t>
              </a:r>
              <a:endParaRPr lang="en-US" altLang="ko-KR" dirty="0">
                <a:latin typeface="Pretendard" panose="02000503000000020004" pitchFamily="50" charset="-127"/>
                <a:ea typeface="Pretendard" panose="02000503000000020004" pitchFamily="50" charset="-127"/>
                <a:cs typeface="Pretendard" panose="02000503000000020004" pitchFamily="50" charset="-127"/>
              </a:endParaRPr>
            </a:p>
          </p:txBody>
        </p:sp>
      </p:grpSp>
      <p:sp>
        <p:nvSpPr>
          <p:cNvPr id="67" name="텍스트 개체 틀 241">
            <a:extLst>
              <a:ext uri="{FF2B5EF4-FFF2-40B4-BE49-F238E27FC236}">
                <a16:creationId xmlns:a16="http://schemas.microsoft.com/office/drawing/2014/main" id="{16E6A4AC-07E1-E6FC-6046-F30A02789C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23334" y="154272"/>
            <a:ext cx="2424261" cy="404431"/>
          </a:xfrm>
          <a:noFill/>
          <a:ln>
            <a:noFill/>
          </a:ln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ts val="1800"/>
              <a:buNone/>
            </a:pPr>
            <a:r>
              <a:rPr lang="en-US" altLang="ko-KR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II.  </a:t>
            </a:r>
            <a:r>
              <a:rPr lang="ko-KR" altLang="en-US" sz="1800" b="1" dirty="0">
                <a:solidFill>
                  <a:srgbClr val="404040"/>
                </a:solidFill>
                <a:latin typeface="Pretendard" panose="02000503000000000000" pitchFamily="2" charset="-127"/>
                <a:ea typeface="Pretendard" panose="02000503000000000000" pitchFamily="2" charset="-127"/>
                <a:cs typeface="Pretendard" panose="02000503000000020004" pitchFamily="50" charset="-127"/>
              </a:rPr>
              <a:t>팀원 소개 및 역할</a:t>
            </a:r>
          </a:p>
        </p:txBody>
      </p:sp>
      <p:grpSp>
        <p:nvGrpSpPr>
          <p:cNvPr id="69" name="그룹 68"/>
          <p:cNvGrpSpPr/>
          <p:nvPr/>
        </p:nvGrpSpPr>
        <p:grpSpPr>
          <a:xfrm>
            <a:off x="4495568" y="124931"/>
            <a:ext cx="7489093" cy="335079"/>
            <a:chOff x="4495568" y="124931"/>
            <a:chExt cx="7489093" cy="335079"/>
          </a:xfrm>
        </p:grpSpPr>
        <p:sp>
          <p:nvSpPr>
            <p:cNvPr id="70" name="사각형: 둥근 모서리 296">
              <a:extLst>
                <a:ext uri="{FF2B5EF4-FFF2-40B4-BE49-F238E27FC236}">
                  <a16:creationId xmlns:a16="http://schemas.microsoft.com/office/drawing/2014/main" id="{1291FF25-6E01-A34C-411C-420CD5B14520}"/>
                </a:ext>
              </a:extLst>
            </p:cNvPr>
            <p:cNvSpPr/>
            <p:nvPr/>
          </p:nvSpPr>
          <p:spPr>
            <a:xfrm>
              <a:off x="4495568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프로젝트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요</a:t>
              </a:r>
            </a:p>
          </p:txBody>
        </p:sp>
        <p:sp>
          <p:nvSpPr>
            <p:cNvPr id="71" name="사각형: 둥근 모서리 297">
              <a:extLst>
                <a:ext uri="{FF2B5EF4-FFF2-40B4-BE49-F238E27FC236}">
                  <a16:creationId xmlns:a16="http://schemas.microsoft.com/office/drawing/2014/main" id="{0E8A1C8D-D17E-025E-A7E1-2F7D7A66566F}"/>
                </a:ext>
              </a:extLst>
            </p:cNvPr>
            <p:cNvSpPr/>
            <p:nvPr/>
          </p:nvSpPr>
          <p:spPr>
            <a:xfrm>
              <a:off x="6011800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chemeClr val="bg1">
                <a:lumMod val="5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. </a:t>
              </a:r>
              <a:r>
                <a:rPr kumimoji="1" lang="ko-KR" altLang="en-US" sz="1000" b="1" dirty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팀원 소개 및 역할</a:t>
              </a:r>
            </a:p>
          </p:txBody>
        </p:sp>
        <p:sp>
          <p:nvSpPr>
            <p:cNvPr id="72" name="사각형: 둥근 모서리 297">
              <a:extLst>
                <a:ext uri="{FF2B5EF4-FFF2-40B4-BE49-F238E27FC236}">
                  <a16:creationId xmlns:a16="http://schemas.microsoft.com/office/drawing/2014/main" id="{9CE1DE13-FB0B-79CB-E550-0275FFE03D03}"/>
                </a:ext>
              </a:extLst>
            </p:cNvPr>
            <p:cNvSpPr/>
            <p:nvPr/>
          </p:nvSpPr>
          <p:spPr>
            <a:xfrm>
              <a:off x="7528032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II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개발 과정</a:t>
              </a:r>
            </a:p>
          </p:txBody>
        </p:sp>
        <p:sp>
          <p:nvSpPr>
            <p:cNvPr id="73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9044264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IV. </a:t>
              </a:r>
              <a:r>
                <a:rPr kumimoji="1" lang="ko-KR" altLang="en-US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결론</a:t>
              </a:r>
            </a:p>
          </p:txBody>
        </p:sp>
        <p:sp>
          <p:nvSpPr>
            <p:cNvPr id="74" name="사각형: 둥근 모서리 297">
              <a:extLst>
                <a:ext uri="{FF2B5EF4-FFF2-40B4-BE49-F238E27FC236}">
                  <a16:creationId xmlns:a16="http://schemas.microsoft.com/office/drawing/2014/main" id="{7651379E-3302-9C4F-43DE-C9BF62987A8B}"/>
                </a:ext>
              </a:extLst>
            </p:cNvPr>
            <p:cNvSpPr/>
            <p:nvPr/>
          </p:nvSpPr>
          <p:spPr>
            <a:xfrm>
              <a:off x="10560496" y="124931"/>
              <a:ext cx="1424165" cy="335079"/>
            </a:xfrm>
            <a:prstGeom prst="roundRect">
              <a:avLst>
                <a:gd name="adj" fmla="val 41122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lIns="84396" tIns="42198" rIns="84396" bIns="42198" rtlCol="0" anchor="ctr"/>
            <a:lstStyle/>
            <a:p>
              <a:pPr algn="ctr"/>
              <a:r>
                <a:rPr kumimoji="1" lang="en-US" altLang="ko-KR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V</a:t>
              </a:r>
              <a:r>
                <a:rPr kumimoji="1" lang="en-US" altLang="ko-KR" sz="1000" dirty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. </a:t>
              </a:r>
              <a:r>
                <a:rPr kumimoji="1" lang="ko-KR" altLang="en-US" sz="1000" dirty="0" smtClean="0">
                  <a:solidFill>
                    <a:schemeClr val="bg1">
                      <a:lumMod val="85000"/>
                    </a:schemeClr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부록</a:t>
              </a:r>
              <a:endParaRPr kumimoji="1" lang="ko-KR" altLang="en-US" sz="1000" dirty="0">
                <a:solidFill>
                  <a:schemeClr val="bg1">
                    <a:lumMod val="85000"/>
                  </a:schemeClr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1499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ities: Skylines II - Paradox Interactive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그룹 6"/>
          <p:cNvGrpSpPr/>
          <p:nvPr/>
        </p:nvGrpSpPr>
        <p:grpSpPr>
          <a:xfrm>
            <a:off x="0" y="0"/>
            <a:ext cx="12192000" cy="1658596"/>
            <a:chOff x="0" y="2396909"/>
            <a:chExt cx="12192000" cy="1986833"/>
          </a:xfrm>
        </p:grpSpPr>
        <p:sp>
          <p:nvSpPr>
            <p:cNvPr id="6" name="사각형: 둥근 모서리 79">
              <a:extLst>
                <a:ext uri="{FF2B5EF4-FFF2-40B4-BE49-F238E27FC236}">
                  <a16:creationId xmlns:a16="http://schemas.microsoft.com/office/drawing/2014/main" id="{949D3F7C-9CC4-2775-5C69-19F507C303B6}"/>
                </a:ext>
              </a:extLst>
            </p:cNvPr>
            <p:cNvSpPr/>
            <p:nvPr/>
          </p:nvSpPr>
          <p:spPr>
            <a:xfrm>
              <a:off x="0" y="2405845"/>
              <a:ext cx="12192000" cy="1968962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50000"/>
                <a:alpha val="70000"/>
              </a:schemeClr>
            </a:solidFill>
            <a:ln w="6350" cap="flat" cmpd="sng" algn="ctr">
              <a:noFill/>
              <a:prstDash val="sysDash"/>
              <a:miter lim="800000"/>
            </a:ln>
            <a:effectLst/>
          </p:spPr>
          <p:txBody>
            <a:bodyPr rot="0" spcFirstLastPara="0" vertOverflow="overflow" horzOverflow="overflow" vert="horz" wrap="square" lIns="67518" tIns="67518" rIns="67518" bIns="675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atinLnBrk="0">
                <a:lnSpc>
                  <a:spcPct val="120000"/>
                </a:lnSpc>
                <a:defRPr/>
              </a:pPr>
              <a:endParaRPr lang="ko-KR" altLang="en-US" sz="1015">
                <a:solidFill>
                  <a:srgbClr val="000000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  <a:sym typeface="Arial"/>
              </a:endParaRPr>
            </a:p>
          </p:txBody>
        </p:sp>
        <p:sp>
          <p:nvSpPr>
            <p:cNvPr id="5" name="직사각형 4"/>
            <p:cNvSpPr/>
            <p:nvPr/>
          </p:nvSpPr>
          <p:spPr>
            <a:xfrm>
              <a:off x="4534515" y="2396909"/>
              <a:ext cx="3122970" cy="198683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kumimoji="1" lang="en-US" altLang="ko-KR" sz="36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End of Page</a:t>
              </a:r>
            </a:p>
            <a:p>
              <a:pPr algn="ctr">
                <a:lnSpc>
                  <a:spcPct val="150000"/>
                </a:lnSpc>
              </a:pPr>
              <a:r>
                <a:rPr kumimoji="1" lang="en-US" altLang="ko-KR" sz="36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- </a:t>
              </a:r>
              <a:r>
                <a:rPr kumimoji="1" lang="ko-KR" altLang="en-US" sz="36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감 사 합 니 다</a:t>
              </a:r>
              <a:r>
                <a:rPr kumimoji="1" lang="en-US" altLang="ko-KR" sz="3600" b="1" dirty="0" smtClean="0">
                  <a:solidFill>
                    <a:schemeClr val="bg1"/>
                  </a:solidFill>
                  <a:latin typeface="Pretendard" panose="02000503000000020004" pitchFamily="2" charset="-127"/>
                  <a:ea typeface="Pretendard" panose="02000503000000020004" pitchFamily="2" charset="-127"/>
                  <a:cs typeface="Pretendard" panose="02000503000000020004" pitchFamily="2" charset="-127"/>
                </a:rPr>
                <a:t>-</a:t>
              </a:r>
              <a:endParaRPr kumimoji="1" lang="en-US" altLang="ko-KR" sz="3600" b="1" dirty="0">
                <a:solidFill>
                  <a:schemeClr val="bg1"/>
                </a:solidFill>
                <a:latin typeface="Pretendard" panose="02000503000000020004" pitchFamily="2" charset="-127"/>
                <a:ea typeface="Pretendard" panose="02000503000000020004" pitchFamily="2" charset="-127"/>
                <a:cs typeface="Pretendard" panose="02000503000000020004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0684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xj0hgOk6fMuSNj1GSC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775</TotalTime>
  <Words>322</Words>
  <Application>Microsoft Office PowerPoint</Application>
  <PresentationFormat>와이드스크린</PresentationFormat>
  <Paragraphs>84</Paragraphs>
  <Slides>8</Slides>
  <Notes>2</Notes>
  <HiddenSlides>0</HiddenSlides>
  <MMClips>0</MMClips>
  <ScaleCrop>false</ScaleCrop>
  <HeadingPairs>
    <vt:vector size="6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8</vt:i4>
      </vt:variant>
    </vt:vector>
  </HeadingPairs>
  <TitlesOfParts>
    <vt:vector size="14" baseType="lpstr">
      <vt:lpstr>Pretendard</vt:lpstr>
      <vt:lpstr>Pretendard</vt:lpstr>
      <vt:lpstr>SF Pro Bold</vt:lpstr>
      <vt:lpstr>맑은 고딕</vt:lpstr>
      <vt:lpstr>Arial</vt:lpstr>
      <vt:lpstr>Office 테마</vt:lpstr>
      <vt:lpstr>PowerPoint 프레젠테이션</vt:lpstr>
      <vt:lpstr>Contents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Dan</dc:creator>
  <cp:lastModifiedBy>jcp</cp:lastModifiedBy>
  <cp:revision>7187</cp:revision>
  <dcterms:created xsi:type="dcterms:W3CDTF">2023-11-03T22:38:30Z</dcterms:created>
  <dcterms:modified xsi:type="dcterms:W3CDTF">2024-07-09T07:25:36Z</dcterms:modified>
</cp:coreProperties>
</file>